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23" r:id="rId5"/>
    <p:sldMasterId id="2147484060" r:id="rId6"/>
  </p:sldMasterIdLst>
  <p:notesMasterIdLst>
    <p:notesMasterId r:id="rId41"/>
  </p:notesMasterIdLst>
  <p:handoutMasterIdLst>
    <p:handoutMasterId r:id="rId42"/>
  </p:handoutMasterIdLst>
  <p:sldIdLst>
    <p:sldId id="256" r:id="rId7"/>
    <p:sldId id="482" r:id="rId8"/>
    <p:sldId id="483" r:id="rId9"/>
    <p:sldId id="450" r:id="rId10"/>
    <p:sldId id="446" r:id="rId11"/>
    <p:sldId id="485" r:id="rId12"/>
    <p:sldId id="486" r:id="rId13"/>
    <p:sldId id="457" r:id="rId14"/>
    <p:sldId id="451" r:id="rId15"/>
    <p:sldId id="487" r:id="rId16"/>
    <p:sldId id="488" r:id="rId17"/>
    <p:sldId id="459" r:id="rId18"/>
    <p:sldId id="420" r:id="rId19"/>
    <p:sldId id="475" r:id="rId20"/>
    <p:sldId id="441" r:id="rId21"/>
    <p:sldId id="477" r:id="rId22"/>
    <p:sldId id="452" r:id="rId23"/>
    <p:sldId id="468" r:id="rId24"/>
    <p:sldId id="481" r:id="rId25"/>
    <p:sldId id="479" r:id="rId26"/>
    <p:sldId id="480" r:id="rId27"/>
    <p:sldId id="437" r:id="rId28"/>
    <p:sldId id="473" r:id="rId29"/>
    <p:sldId id="438" r:id="rId30"/>
    <p:sldId id="439" r:id="rId31"/>
    <p:sldId id="440" r:id="rId32"/>
    <p:sldId id="474" r:id="rId33"/>
    <p:sldId id="426" r:id="rId34"/>
    <p:sldId id="484" r:id="rId35"/>
    <p:sldId id="453" r:id="rId36"/>
    <p:sldId id="466" r:id="rId37"/>
    <p:sldId id="456" r:id="rId38"/>
    <p:sldId id="467" r:id="rId39"/>
    <p:sldId id="325" r:id="rId40"/>
  </p:sldIdLst>
  <p:sldSz cx="12192000" cy="6858000"/>
  <p:notesSz cx="6858000" cy="9144000"/>
  <p:custDataLst>
    <p:tags r:id="rId4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LEMM Maxine (DIGIT-EXT)" initials="LM(" lastIdx="1" clrIdx="0">
    <p:extLst>
      <p:ext uri="{19B8F6BF-5375-455C-9EA6-DF929625EA0E}">
        <p15:presenceInfo xmlns:p15="http://schemas.microsoft.com/office/powerpoint/2012/main" userId="LEMM Maxine (DIGIT-EXT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8C"/>
    <a:srgbClr val="FFFFFF"/>
    <a:srgbClr val="000000"/>
    <a:srgbClr val="FFC1D6"/>
    <a:srgbClr val="FF6699"/>
    <a:srgbClr val="F4CF30"/>
    <a:srgbClr val="002060"/>
    <a:srgbClr val="0A3863"/>
    <a:srgbClr val="5088C5"/>
    <a:srgbClr val="2F4A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80" autoAdjust="0"/>
    <p:restoredTop sz="96395" autoAdjust="0"/>
  </p:normalViewPr>
  <p:slideViewPr>
    <p:cSldViewPr snapToGrid="0">
      <p:cViewPr varScale="1">
        <p:scale>
          <a:sx n="73" d="100"/>
          <a:sy n="73" d="100"/>
        </p:scale>
        <p:origin x="36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-5160"/>
    </p:cViewPr>
  </p:sorterViewPr>
  <p:notesViewPr>
    <p:cSldViewPr snapToGrid="0" showGuides="1">
      <p:cViewPr varScale="1">
        <p:scale>
          <a:sx n="85" d="100"/>
          <a:sy n="85" d="100"/>
        </p:scale>
        <p:origin x="296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D041D2-EEE8-44B2-A4DB-1B83B26B9765}" type="datetimeFigureOut">
              <a:rPr lang="pt-PT" smtClean="0"/>
              <a:t>06/04/2020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5F0106-B206-480C-80B7-DC6EF2965E3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4114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F195A-D0FB-4673-9565-48420C86E1B4}" type="datetimeFigureOut">
              <a:rPr lang="pt-PT" smtClean="0"/>
              <a:t>06/04/2020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0C98B0-CF1C-4133-97B9-74724C034050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48111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5D45CEB-C07A-AA4B-A52F-5A6717C1F367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1033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775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0C98B0-CF1C-4133-97B9-74724C034050}" type="slidenum">
              <a:rPr lang="pt-PT" smtClean="0"/>
              <a:t>2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606817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693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90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5883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096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0C98B0-CF1C-4133-97B9-74724C034050}" type="slidenum">
              <a:rPr lang="pt-PT" smtClean="0"/>
              <a:t>2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04516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4096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03955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50721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39755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 dirty="0"/>
              <a:t> 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31113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22834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1672766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dirty="0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155407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his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box can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used</a:t>
            </a:r>
            <a:r>
              <a:rPr lang="pt-PT" dirty="0"/>
              <a:t> to </a:t>
            </a:r>
            <a:r>
              <a:rPr lang="pt-PT" dirty="0" err="1"/>
              <a:t>write</a:t>
            </a:r>
            <a:r>
              <a:rPr lang="pt-PT" dirty="0"/>
              <a:t> </a:t>
            </a:r>
            <a:r>
              <a:rPr lang="pt-PT" dirty="0" err="1"/>
              <a:t>an</a:t>
            </a:r>
            <a:r>
              <a:rPr lang="pt-PT" dirty="0"/>
              <a:t> </a:t>
            </a:r>
            <a:r>
              <a:rPr lang="pt-PT" dirty="0" err="1"/>
              <a:t>inpiring</a:t>
            </a:r>
            <a:r>
              <a:rPr lang="pt-PT" dirty="0"/>
              <a:t> </a:t>
            </a:r>
            <a:r>
              <a:rPr lang="pt-PT" dirty="0" err="1"/>
              <a:t>phrase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colors</a:t>
            </a:r>
            <a:r>
              <a:rPr lang="pt-PT" dirty="0"/>
              <a:t> can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used</a:t>
            </a:r>
            <a:r>
              <a:rPr lang="pt-PT" dirty="0"/>
              <a:t> to </a:t>
            </a:r>
            <a:r>
              <a:rPr lang="pt-PT" dirty="0" err="1"/>
              <a:t>highlight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key</a:t>
            </a:r>
            <a:r>
              <a:rPr lang="pt-PT" dirty="0"/>
              <a:t> </a:t>
            </a:r>
            <a:r>
              <a:rPr lang="pt-PT" dirty="0" err="1"/>
              <a:t>message</a:t>
            </a:r>
            <a:endParaRPr lang="pt-PT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7348119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Make</a:t>
            </a:r>
            <a:r>
              <a:rPr lang="pt-PT" dirty="0"/>
              <a:t> a short </a:t>
            </a:r>
            <a:r>
              <a:rPr lang="pt-PT" dirty="0" err="1"/>
              <a:t>statement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highlight</a:t>
            </a:r>
            <a:r>
              <a:rPr lang="pt-PT" dirty="0"/>
              <a:t> some </a:t>
            </a:r>
            <a:r>
              <a:rPr lang="pt-PT" dirty="0" err="1"/>
              <a:t>words</a:t>
            </a:r>
            <a:r>
              <a:rPr lang="pt-PT" dirty="0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9900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 dirty="0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 dirty="0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 dirty="0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79070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- </a:t>
            </a:r>
            <a:r>
              <a:rPr lang="pt-PT" dirty="0" err="1"/>
              <a:t>Author’s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4193258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724017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2796357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1526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841930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8288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19809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 dirty="0"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14430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 </a:t>
            </a:r>
            <a:r>
              <a:rPr lang="pt-PT" dirty="0" err="1"/>
              <a:t>inventore</a:t>
            </a:r>
            <a:r>
              <a:rPr lang="pt-PT" dirty="0"/>
              <a:t> </a:t>
            </a:r>
            <a:r>
              <a:rPr lang="pt-PT" dirty="0" err="1"/>
              <a:t>veritat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quasi</a:t>
            </a:r>
            <a:r>
              <a:rPr lang="pt-PT" dirty="0"/>
              <a:t> </a:t>
            </a:r>
            <a:r>
              <a:rPr lang="pt-PT" dirty="0" err="1"/>
              <a:t>architecto</a:t>
            </a:r>
            <a:r>
              <a:rPr lang="pt-PT" dirty="0"/>
              <a:t> </a:t>
            </a:r>
            <a:r>
              <a:rPr lang="pt-PT" dirty="0" err="1"/>
              <a:t>beatae</a:t>
            </a:r>
            <a:r>
              <a:rPr lang="pt-PT" dirty="0"/>
              <a:t> vitae </a:t>
            </a:r>
            <a:r>
              <a:rPr lang="pt-PT" dirty="0" err="1"/>
              <a:t>dicta</a:t>
            </a:r>
            <a:r>
              <a:rPr lang="pt-PT" dirty="0"/>
              <a:t> </a:t>
            </a:r>
            <a:r>
              <a:rPr lang="pt-PT" dirty="0" err="1"/>
              <a:t>sunt</a:t>
            </a:r>
            <a:r>
              <a:rPr lang="pt-PT" dirty="0"/>
              <a:t> </a:t>
            </a:r>
            <a:r>
              <a:rPr lang="pt-PT" dirty="0" err="1"/>
              <a:t>explicabo</a:t>
            </a:r>
            <a:r>
              <a:rPr lang="pt-PT" dirty="0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Main</a:t>
            </a:r>
            <a:r>
              <a:rPr lang="pt-PT" dirty="0"/>
              <a:t> </a:t>
            </a:r>
            <a:r>
              <a:rPr lang="pt-PT" dirty="0" err="1"/>
              <a:t>message</a:t>
            </a:r>
            <a:endParaRPr lang="pt-PT" dirty="0"/>
          </a:p>
          <a:p>
            <a:endParaRPr lang="pt-PT" dirty="0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245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113925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359863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Optio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Optio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3314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5088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48085" y="1637072"/>
            <a:ext cx="2316617" cy="1896358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030463" y="1626016"/>
            <a:ext cx="2316617" cy="1907414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609874" y="1637072"/>
            <a:ext cx="2316617" cy="1896358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3771608"/>
            <a:ext cx="10366489" cy="2289827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1229034" y="1336339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5030463" y="13252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8609873" y="1336339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451277" y="1836117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5233655" y="18409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8818844" y="1852002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451277" y="2313755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5230171" y="23026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8811323" y="2313755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016930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4475087"/>
            <a:ext cx="9841705" cy="131924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61538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here</a:t>
            </a:r>
            <a:endParaRPr lang="pt-PT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endParaRPr lang="pt-PT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8280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45847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29187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62284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475333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76900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958574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0423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0027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86621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</a:t>
            </a:r>
            <a:r>
              <a:rPr lang="it-IT" dirty="0"/>
              <a:t>sse cillum dolore eu fugiat nulla pariatur.</a:t>
            </a:r>
          </a:p>
          <a:p>
            <a:pPr lvl="0"/>
            <a:endParaRPr lang="pt-PT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Email:</a:t>
            </a:r>
            <a:endParaRPr lang="it-IT" dirty="0"/>
          </a:p>
          <a:p>
            <a:pPr lvl="0"/>
            <a:endParaRPr lang="pt-PT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emailname@domain.com</a:t>
            </a:r>
            <a:endParaRPr lang="it-IT" dirty="0"/>
          </a:p>
          <a:p>
            <a:pPr lvl="0"/>
            <a:endParaRPr lang="pt-PT" dirty="0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29364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Position</a:t>
            </a:r>
            <a:endParaRPr lang="pt-PT" dirty="0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22637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784620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58756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58986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Fill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creen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1025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Fill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creen</a:t>
            </a:r>
            <a:endParaRPr lang="pt-PT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9281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54176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!</a:t>
            </a:r>
          </a:p>
          <a:p>
            <a:pPr lvl="0"/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357492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dirty="0" err="1"/>
              <a:t>Add</a:t>
            </a:r>
            <a:r>
              <a:rPr lang="pt-PT" dirty="0"/>
              <a:t> a link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Position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E-mail </a:t>
            </a:r>
            <a:r>
              <a:rPr lang="pt-PT" dirty="0" err="1"/>
              <a:t>adress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Phone</a:t>
            </a:r>
            <a:r>
              <a:rPr lang="pt-PT" dirty="0"/>
              <a:t> </a:t>
            </a:r>
            <a:r>
              <a:rPr lang="pt-PT" dirty="0" err="1"/>
              <a:t>number</a:t>
            </a:r>
            <a:endParaRPr lang="pt-PT" dirty="0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dirty="0" err="1"/>
              <a:t>Click</a:t>
            </a:r>
            <a:r>
              <a:rPr lang="pt-PT" baseline="0" dirty="0"/>
              <a:t> </a:t>
            </a:r>
            <a:r>
              <a:rPr lang="pt-PT" baseline="0" dirty="0" err="1"/>
              <a:t>the</a:t>
            </a:r>
            <a:r>
              <a:rPr lang="pt-PT" baseline="0" dirty="0"/>
              <a:t> link:</a:t>
            </a:r>
            <a:endParaRPr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topic’s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33727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39378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8530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64883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211240607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323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03730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444128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393374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2357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160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13266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688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9037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 dirty="0"/>
              <a:t> 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777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345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0748874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dirty="0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76638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his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box can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used</a:t>
            </a:r>
            <a:r>
              <a:rPr lang="pt-PT" dirty="0"/>
              <a:t> to </a:t>
            </a:r>
            <a:r>
              <a:rPr lang="pt-PT" dirty="0" err="1"/>
              <a:t>write</a:t>
            </a:r>
            <a:r>
              <a:rPr lang="pt-PT" dirty="0"/>
              <a:t> </a:t>
            </a:r>
            <a:r>
              <a:rPr lang="pt-PT" dirty="0" err="1"/>
              <a:t>an</a:t>
            </a:r>
            <a:r>
              <a:rPr lang="pt-PT" dirty="0"/>
              <a:t> </a:t>
            </a:r>
            <a:r>
              <a:rPr lang="pt-PT" dirty="0" err="1"/>
              <a:t>inpiring</a:t>
            </a:r>
            <a:r>
              <a:rPr lang="pt-PT" dirty="0"/>
              <a:t> </a:t>
            </a:r>
            <a:r>
              <a:rPr lang="pt-PT" dirty="0" err="1"/>
              <a:t>phrase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colors</a:t>
            </a:r>
            <a:r>
              <a:rPr lang="pt-PT" dirty="0"/>
              <a:t> can </a:t>
            </a:r>
            <a:r>
              <a:rPr lang="pt-PT" dirty="0" err="1"/>
              <a:t>be</a:t>
            </a:r>
            <a:r>
              <a:rPr lang="pt-PT" dirty="0"/>
              <a:t> </a:t>
            </a:r>
            <a:r>
              <a:rPr lang="pt-PT" dirty="0" err="1"/>
              <a:t>used</a:t>
            </a:r>
            <a:r>
              <a:rPr lang="pt-PT" dirty="0"/>
              <a:t> to </a:t>
            </a:r>
            <a:r>
              <a:rPr lang="pt-PT" dirty="0" err="1"/>
              <a:t>highlight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key</a:t>
            </a:r>
            <a:r>
              <a:rPr lang="pt-PT" dirty="0"/>
              <a:t> </a:t>
            </a:r>
            <a:r>
              <a:rPr lang="pt-PT" dirty="0" err="1"/>
              <a:t>message</a:t>
            </a:r>
            <a:endParaRPr lang="pt-PT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0251039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Make</a:t>
            </a:r>
            <a:r>
              <a:rPr lang="pt-PT" dirty="0"/>
              <a:t> a short </a:t>
            </a:r>
            <a:r>
              <a:rPr lang="pt-PT" dirty="0" err="1"/>
              <a:t>statement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highlight</a:t>
            </a:r>
            <a:r>
              <a:rPr lang="pt-PT" dirty="0"/>
              <a:t> some </a:t>
            </a:r>
            <a:r>
              <a:rPr lang="pt-PT" dirty="0" err="1"/>
              <a:t>words</a:t>
            </a:r>
            <a:r>
              <a:rPr lang="pt-PT" dirty="0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3554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 dirty="0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 dirty="0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 dirty="0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dirty="0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 dirty="0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60111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- </a:t>
            </a:r>
            <a:r>
              <a:rPr lang="pt-PT" dirty="0" err="1"/>
              <a:t>Author’s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766712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341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698539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17901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dirty="0" err="1"/>
              <a:t>Idea</a:t>
            </a:r>
            <a:r>
              <a:rPr lang="pt-PT" dirty="0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892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856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Colum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  <a:r>
              <a:rPr lang="pt-PT" dirty="0" err="1"/>
              <a:t>Excepteur</a:t>
            </a:r>
            <a:r>
              <a:rPr lang="pt-PT" dirty="0"/>
              <a:t> </a:t>
            </a:r>
            <a:r>
              <a:rPr lang="pt-PT" dirty="0" err="1"/>
              <a:t>sint</a:t>
            </a:r>
            <a:r>
              <a:rPr lang="pt-PT" dirty="0"/>
              <a:t> </a:t>
            </a:r>
            <a:r>
              <a:rPr lang="pt-PT" dirty="0" err="1"/>
              <a:t>occaecat</a:t>
            </a:r>
            <a:r>
              <a:rPr lang="pt-PT" dirty="0"/>
              <a:t> </a:t>
            </a:r>
            <a:r>
              <a:rPr lang="pt-PT" dirty="0" err="1"/>
              <a:t>cupidatat</a:t>
            </a:r>
            <a:r>
              <a:rPr lang="pt-PT" dirty="0"/>
              <a:t> non </a:t>
            </a:r>
            <a:r>
              <a:rPr lang="pt-PT" dirty="0" err="1"/>
              <a:t>proident</a:t>
            </a:r>
            <a:r>
              <a:rPr lang="pt-PT" dirty="0"/>
              <a:t>, </a:t>
            </a:r>
            <a:r>
              <a:rPr lang="pt-PT" dirty="0" err="1"/>
              <a:t>sunt</a:t>
            </a:r>
            <a:r>
              <a:rPr lang="pt-PT" dirty="0"/>
              <a:t> in culpa qui </a:t>
            </a:r>
            <a:r>
              <a:rPr lang="pt-PT" dirty="0" err="1"/>
              <a:t>officia</a:t>
            </a:r>
            <a:r>
              <a:rPr lang="pt-PT" dirty="0"/>
              <a:t> </a:t>
            </a:r>
            <a:r>
              <a:rPr lang="pt-PT" dirty="0" err="1"/>
              <a:t>deserunt</a:t>
            </a:r>
            <a:r>
              <a:rPr lang="pt-PT" dirty="0"/>
              <a:t> </a:t>
            </a:r>
            <a:r>
              <a:rPr lang="pt-PT" dirty="0" err="1"/>
              <a:t>mollit</a:t>
            </a:r>
            <a:r>
              <a:rPr lang="pt-PT" dirty="0"/>
              <a:t> </a:t>
            </a:r>
            <a:r>
              <a:rPr lang="pt-PT" dirty="0" err="1"/>
              <a:t>anim</a:t>
            </a:r>
            <a:r>
              <a:rPr lang="pt-PT" dirty="0"/>
              <a:t> id </a:t>
            </a:r>
            <a:r>
              <a:rPr lang="pt-PT" dirty="0" err="1"/>
              <a:t>est</a:t>
            </a:r>
            <a:r>
              <a:rPr lang="pt-PT" dirty="0"/>
              <a:t> </a:t>
            </a:r>
            <a:r>
              <a:rPr lang="pt-PT" dirty="0" err="1"/>
              <a:t>laborum</a:t>
            </a:r>
            <a:r>
              <a:rPr lang="pt-PT" dirty="0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6405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 dirty="0"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56752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 </a:t>
            </a:r>
            <a:r>
              <a:rPr lang="pt-PT" dirty="0" err="1"/>
              <a:t>inventore</a:t>
            </a:r>
            <a:r>
              <a:rPr lang="pt-PT" dirty="0"/>
              <a:t> </a:t>
            </a:r>
            <a:r>
              <a:rPr lang="pt-PT" dirty="0" err="1"/>
              <a:t>veritatis</a:t>
            </a:r>
            <a:r>
              <a:rPr lang="pt-PT" dirty="0"/>
              <a:t>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quasi</a:t>
            </a:r>
            <a:r>
              <a:rPr lang="pt-PT" dirty="0"/>
              <a:t> </a:t>
            </a:r>
            <a:r>
              <a:rPr lang="pt-PT" dirty="0" err="1"/>
              <a:t>architecto</a:t>
            </a:r>
            <a:r>
              <a:rPr lang="pt-PT" dirty="0"/>
              <a:t> </a:t>
            </a:r>
            <a:r>
              <a:rPr lang="pt-PT" dirty="0" err="1"/>
              <a:t>beatae</a:t>
            </a:r>
            <a:r>
              <a:rPr lang="pt-PT" dirty="0"/>
              <a:t> vitae </a:t>
            </a:r>
            <a:r>
              <a:rPr lang="pt-PT" dirty="0" err="1"/>
              <a:t>dicta</a:t>
            </a:r>
            <a:r>
              <a:rPr lang="pt-PT" dirty="0"/>
              <a:t> </a:t>
            </a:r>
            <a:r>
              <a:rPr lang="pt-PT" dirty="0" err="1"/>
              <a:t>sunt</a:t>
            </a:r>
            <a:r>
              <a:rPr lang="pt-PT" dirty="0"/>
              <a:t> </a:t>
            </a:r>
            <a:r>
              <a:rPr lang="pt-PT" dirty="0" err="1"/>
              <a:t>explicabo</a:t>
            </a:r>
            <a:r>
              <a:rPr lang="pt-PT" dirty="0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endParaRPr lang="en-US" dirty="0"/>
          </a:p>
          <a:p>
            <a:endParaRPr lang="pt-PT" dirty="0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Main</a:t>
            </a:r>
            <a:r>
              <a:rPr lang="pt-PT" dirty="0"/>
              <a:t> </a:t>
            </a:r>
            <a:r>
              <a:rPr lang="pt-PT" dirty="0" err="1"/>
              <a:t>message</a:t>
            </a:r>
            <a:endParaRPr lang="pt-PT" dirty="0"/>
          </a:p>
          <a:p>
            <a:endParaRPr lang="pt-PT" dirty="0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06995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68797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>
                <a:solidFill>
                  <a:schemeClr val="accent2"/>
                </a:solidFill>
              </a:rPr>
              <a:t>Lore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psum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si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me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consectetu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adipiscing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elit</a:t>
            </a:r>
            <a:r>
              <a:rPr lang="pt-PT" dirty="0">
                <a:solidFill>
                  <a:schemeClr val="accent2"/>
                </a:solidFill>
              </a:rPr>
              <a:t>, </a:t>
            </a:r>
            <a:r>
              <a:rPr lang="pt-PT" dirty="0" err="1">
                <a:solidFill>
                  <a:schemeClr val="accent2"/>
                </a:solidFill>
              </a:rPr>
              <a:t>sed</a:t>
            </a:r>
            <a:r>
              <a:rPr lang="pt-PT" dirty="0">
                <a:solidFill>
                  <a:schemeClr val="accent2"/>
                </a:solidFill>
              </a:rPr>
              <a:t> do </a:t>
            </a:r>
            <a:r>
              <a:rPr lang="pt-PT" dirty="0" err="1">
                <a:solidFill>
                  <a:schemeClr val="accent2"/>
                </a:solidFill>
              </a:rPr>
              <a:t>eiusmod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tempor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incididunt</a:t>
            </a:r>
            <a:r>
              <a:rPr lang="pt-PT" dirty="0">
                <a:solidFill>
                  <a:schemeClr val="accent2"/>
                </a:solidFill>
              </a:rPr>
              <a:t> ut labore </a:t>
            </a:r>
            <a:r>
              <a:rPr lang="pt-PT" dirty="0" err="1">
                <a:solidFill>
                  <a:schemeClr val="accent2"/>
                </a:solidFill>
              </a:rPr>
              <a:t>et</a:t>
            </a:r>
            <a:r>
              <a:rPr lang="pt-PT" dirty="0">
                <a:solidFill>
                  <a:schemeClr val="accent2"/>
                </a:solidFill>
              </a:rPr>
              <a:t> </a:t>
            </a:r>
            <a:r>
              <a:rPr lang="pt-PT" dirty="0" err="1">
                <a:solidFill>
                  <a:schemeClr val="accent2"/>
                </a:solidFill>
              </a:rPr>
              <a:t>dolore</a:t>
            </a:r>
            <a:r>
              <a:rPr lang="pt-PT" dirty="0">
                <a:solidFill>
                  <a:schemeClr val="accent2"/>
                </a:solidFill>
              </a:rPr>
              <a:t> magna </a:t>
            </a:r>
            <a:r>
              <a:rPr lang="pt-PT" dirty="0" err="1">
                <a:solidFill>
                  <a:schemeClr val="accent2"/>
                </a:solidFill>
              </a:rPr>
              <a:t>aliqua</a:t>
            </a:r>
            <a:r>
              <a:rPr lang="pt-PT" dirty="0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892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 </a:t>
            </a:r>
            <a:r>
              <a:rPr lang="pt-PT" dirty="0" err="1"/>
              <a:t>quae</a:t>
            </a:r>
            <a:r>
              <a:rPr lang="pt-PT" dirty="0"/>
              <a:t> </a:t>
            </a:r>
            <a:r>
              <a:rPr lang="pt-PT" dirty="0" err="1"/>
              <a:t>ab</a:t>
            </a:r>
            <a:r>
              <a:rPr lang="pt-PT" dirty="0"/>
              <a:t> </a:t>
            </a:r>
            <a:r>
              <a:rPr lang="pt-PT" dirty="0" err="1"/>
              <a:t>illo</a:t>
            </a:r>
            <a:r>
              <a:rPr lang="pt-PT" dirty="0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Optio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Option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383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9891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, </a:t>
            </a:r>
            <a:r>
              <a:rPr lang="pt-PT" dirty="0" err="1"/>
              <a:t>eaque</a:t>
            </a:r>
            <a:r>
              <a:rPr lang="pt-PT" dirty="0"/>
              <a:t> </a:t>
            </a:r>
            <a:r>
              <a:rPr lang="pt-PT" dirty="0" err="1"/>
              <a:t>ipsa</a:t>
            </a:r>
            <a:r>
              <a:rPr lang="pt-PT" dirty="0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631226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here</a:t>
            </a:r>
            <a:endParaRPr lang="pt-PT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and highlight key words in yellow</a:t>
            </a:r>
            <a:endParaRPr lang="pt-PT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endParaRPr lang="pt-PT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endParaRPr lang="pt-PT" dirty="0"/>
          </a:p>
          <a:p>
            <a:pPr lvl="0"/>
            <a:endParaRPr lang="pt-PT" dirty="0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41077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32933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0346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8030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pt-PT" dirty="0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87562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ear</a:t>
            </a:r>
          </a:p>
          <a:p>
            <a:pPr lvl="0"/>
            <a:r>
              <a:rPr lang="en-US" dirty="0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9783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8797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436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dirty="0" err="1"/>
              <a:t>Sed</a:t>
            </a:r>
            <a:r>
              <a:rPr lang="pt-PT" dirty="0"/>
              <a:t> ut </a:t>
            </a:r>
            <a:r>
              <a:rPr lang="pt-PT" dirty="0" err="1"/>
              <a:t>perspiciatis</a:t>
            </a:r>
            <a:r>
              <a:rPr lang="pt-PT" dirty="0"/>
              <a:t> </a:t>
            </a:r>
            <a:r>
              <a:rPr lang="pt-PT" dirty="0" err="1"/>
              <a:t>unde</a:t>
            </a:r>
            <a:r>
              <a:rPr lang="pt-PT" dirty="0"/>
              <a:t> </a:t>
            </a:r>
            <a:r>
              <a:rPr lang="pt-PT" dirty="0" err="1"/>
              <a:t>omnis</a:t>
            </a:r>
            <a:r>
              <a:rPr lang="pt-PT" dirty="0"/>
              <a:t> </a:t>
            </a:r>
            <a:r>
              <a:rPr lang="pt-PT" dirty="0" err="1"/>
              <a:t>iste</a:t>
            </a:r>
            <a:r>
              <a:rPr lang="pt-PT" dirty="0"/>
              <a:t> </a:t>
            </a:r>
            <a:r>
              <a:rPr lang="pt-PT" dirty="0" err="1"/>
              <a:t>natus</a:t>
            </a:r>
            <a:r>
              <a:rPr lang="pt-PT" dirty="0"/>
              <a:t> error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voluptatem</a:t>
            </a:r>
            <a:r>
              <a:rPr lang="pt-PT" dirty="0"/>
              <a:t> </a:t>
            </a:r>
            <a:r>
              <a:rPr lang="pt-PT" dirty="0" err="1"/>
              <a:t>accusantium</a:t>
            </a:r>
            <a:r>
              <a:rPr lang="pt-PT" dirty="0"/>
              <a:t> </a:t>
            </a:r>
            <a:r>
              <a:rPr lang="pt-PT" dirty="0" err="1"/>
              <a:t>doloremque</a:t>
            </a:r>
            <a:r>
              <a:rPr lang="pt-PT" dirty="0"/>
              <a:t> </a:t>
            </a:r>
            <a:r>
              <a:rPr lang="pt-PT" dirty="0" err="1"/>
              <a:t>laudantium</a:t>
            </a:r>
            <a:r>
              <a:rPr lang="pt-PT" dirty="0"/>
              <a:t>, </a:t>
            </a:r>
            <a:r>
              <a:rPr lang="pt-PT" dirty="0" err="1"/>
              <a:t>totam</a:t>
            </a:r>
            <a:r>
              <a:rPr lang="pt-PT" dirty="0"/>
              <a:t> rem </a:t>
            </a:r>
            <a:r>
              <a:rPr lang="pt-PT" dirty="0" err="1"/>
              <a:t>aperiam</a:t>
            </a:r>
            <a:r>
              <a:rPr lang="pt-PT" dirty="0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958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5487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</a:t>
            </a:r>
            <a:r>
              <a:rPr lang="it-IT" dirty="0"/>
              <a:t>sse cillum dolore eu fugiat nulla pariatur.</a:t>
            </a:r>
          </a:p>
          <a:p>
            <a:pPr lvl="0"/>
            <a:endParaRPr lang="pt-PT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Email:</a:t>
            </a:r>
            <a:endParaRPr lang="it-IT" dirty="0"/>
          </a:p>
          <a:p>
            <a:pPr lvl="0"/>
            <a:endParaRPr lang="pt-PT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emailname@domain.com</a:t>
            </a:r>
            <a:endParaRPr lang="it-IT" dirty="0"/>
          </a:p>
          <a:p>
            <a:pPr lvl="0"/>
            <a:endParaRPr lang="pt-PT" dirty="0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84499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Curabitur</a:t>
            </a:r>
            <a:r>
              <a:rPr lang="pt-PT" dirty="0"/>
              <a:t> </a:t>
            </a:r>
            <a:r>
              <a:rPr lang="pt-PT" dirty="0" err="1"/>
              <a:t>vel</a:t>
            </a:r>
            <a:r>
              <a:rPr lang="pt-PT" dirty="0"/>
              <a:t> </a:t>
            </a:r>
            <a:r>
              <a:rPr lang="pt-PT" dirty="0" err="1"/>
              <a:t>tincidunt</a:t>
            </a:r>
            <a:r>
              <a:rPr lang="pt-PT" dirty="0"/>
              <a:t> odio. </a:t>
            </a:r>
            <a:r>
              <a:rPr lang="pt-PT" dirty="0" err="1"/>
              <a:t>Integer</a:t>
            </a:r>
            <a:r>
              <a:rPr lang="pt-PT" dirty="0"/>
              <a:t> </a:t>
            </a:r>
            <a:r>
              <a:rPr lang="pt-PT" dirty="0" err="1"/>
              <a:t>volutpat</a:t>
            </a:r>
            <a:r>
              <a:rPr lang="pt-PT" dirty="0"/>
              <a:t> </a:t>
            </a:r>
            <a:r>
              <a:rPr lang="pt-PT" dirty="0" err="1"/>
              <a:t>tempus</a:t>
            </a:r>
            <a:r>
              <a:rPr lang="pt-PT" dirty="0"/>
              <a:t> </a:t>
            </a:r>
            <a:r>
              <a:rPr lang="pt-PT" dirty="0" err="1"/>
              <a:t>nunc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</a:t>
            </a:r>
            <a:r>
              <a:rPr lang="pt-PT" dirty="0" err="1"/>
              <a:t>molesti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</a:t>
            </a:r>
            <a:r>
              <a:rPr lang="pt-PT" dirty="0" err="1"/>
              <a:t>pellentesque</a:t>
            </a:r>
            <a:r>
              <a:rPr lang="pt-PT" dirty="0"/>
              <a:t> eu. </a:t>
            </a:r>
            <a:r>
              <a:rPr lang="pt-PT" dirty="0" err="1"/>
              <a:t>Praesent</a:t>
            </a:r>
            <a:r>
              <a:rPr lang="pt-PT" dirty="0"/>
              <a:t> </a:t>
            </a:r>
            <a:r>
              <a:rPr lang="pt-PT" dirty="0" err="1"/>
              <a:t>dapibus</a:t>
            </a:r>
            <a:r>
              <a:rPr lang="pt-PT" dirty="0"/>
              <a:t> </a:t>
            </a:r>
            <a:r>
              <a:rPr lang="pt-PT" dirty="0" err="1"/>
              <a:t>enim</a:t>
            </a:r>
            <a:r>
              <a:rPr lang="pt-PT" dirty="0"/>
              <a:t> </a:t>
            </a:r>
            <a:r>
              <a:rPr lang="pt-PT" dirty="0" err="1"/>
              <a:t>turpis</a:t>
            </a:r>
            <a:r>
              <a:rPr lang="pt-PT" dirty="0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Position</a:t>
            </a:r>
            <a:endParaRPr lang="pt-PT" dirty="0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9067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06102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89506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illustration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Block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45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Fill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creen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3387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Icon here</a:t>
            </a:r>
            <a:endParaRPr lang="pt-PT" dirty="0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Ut </a:t>
            </a:r>
            <a:r>
              <a:rPr lang="pt-PT" dirty="0" err="1"/>
              <a:t>enim</a:t>
            </a:r>
            <a:r>
              <a:rPr lang="pt-PT" dirty="0"/>
              <a:t> ad </a:t>
            </a:r>
            <a:r>
              <a:rPr lang="pt-PT" dirty="0" err="1"/>
              <a:t>minim</a:t>
            </a:r>
            <a:r>
              <a:rPr lang="pt-PT" dirty="0"/>
              <a:t> </a:t>
            </a:r>
            <a:r>
              <a:rPr lang="pt-PT" dirty="0" err="1"/>
              <a:t>veniam</a:t>
            </a:r>
            <a:r>
              <a:rPr lang="pt-PT" dirty="0"/>
              <a:t>, quis </a:t>
            </a:r>
            <a:r>
              <a:rPr lang="pt-PT" dirty="0" err="1"/>
              <a:t>nostrud</a:t>
            </a:r>
            <a:r>
              <a:rPr lang="pt-PT" dirty="0"/>
              <a:t> </a:t>
            </a:r>
            <a:r>
              <a:rPr lang="pt-PT" dirty="0" err="1"/>
              <a:t>exercitation</a:t>
            </a:r>
            <a:r>
              <a:rPr lang="pt-PT" dirty="0"/>
              <a:t> </a:t>
            </a:r>
            <a:r>
              <a:rPr lang="pt-PT" dirty="0" err="1"/>
              <a:t>ullamco</a:t>
            </a:r>
            <a:r>
              <a:rPr lang="pt-PT" dirty="0"/>
              <a:t> </a:t>
            </a:r>
            <a:r>
              <a:rPr lang="pt-PT" dirty="0" err="1"/>
              <a:t>laboris</a:t>
            </a:r>
            <a:r>
              <a:rPr lang="pt-PT" dirty="0"/>
              <a:t> </a:t>
            </a:r>
            <a:r>
              <a:rPr lang="pt-PT" dirty="0" err="1"/>
              <a:t>nisi</a:t>
            </a:r>
            <a:r>
              <a:rPr lang="pt-PT" dirty="0"/>
              <a:t> ut </a:t>
            </a:r>
            <a:r>
              <a:rPr lang="pt-PT" dirty="0" err="1"/>
              <a:t>aliquip</a:t>
            </a:r>
            <a:r>
              <a:rPr lang="pt-PT" dirty="0"/>
              <a:t> </a:t>
            </a:r>
            <a:r>
              <a:rPr lang="pt-PT" dirty="0" err="1"/>
              <a:t>ex</a:t>
            </a:r>
            <a:r>
              <a:rPr lang="pt-PT" dirty="0"/>
              <a:t> </a:t>
            </a:r>
            <a:r>
              <a:rPr lang="pt-PT" dirty="0" err="1"/>
              <a:t>ea</a:t>
            </a:r>
            <a:r>
              <a:rPr lang="pt-PT" dirty="0"/>
              <a:t> </a:t>
            </a:r>
            <a:r>
              <a:rPr lang="pt-PT" dirty="0" err="1"/>
              <a:t>commodo</a:t>
            </a:r>
            <a:r>
              <a:rPr lang="pt-PT" dirty="0"/>
              <a:t> </a:t>
            </a:r>
            <a:r>
              <a:rPr lang="pt-PT" dirty="0" err="1"/>
              <a:t>consequat</a:t>
            </a:r>
            <a:r>
              <a:rPr lang="pt-PT" dirty="0"/>
              <a:t>. </a:t>
            </a:r>
            <a:r>
              <a:rPr lang="pt-PT" dirty="0" err="1"/>
              <a:t>Duis</a:t>
            </a:r>
            <a:r>
              <a:rPr lang="pt-PT" dirty="0"/>
              <a:t> </a:t>
            </a:r>
            <a:r>
              <a:rPr lang="pt-PT" dirty="0" err="1"/>
              <a:t>aute</a:t>
            </a:r>
            <a:r>
              <a:rPr lang="pt-PT" dirty="0"/>
              <a:t> </a:t>
            </a:r>
            <a:r>
              <a:rPr lang="pt-PT" dirty="0" err="1"/>
              <a:t>irure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in </a:t>
            </a:r>
            <a:r>
              <a:rPr lang="pt-PT" dirty="0" err="1"/>
              <a:t>reprehenderit</a:t>
            </a:r>
            <a:r>
              <a:rPr lang="pt-PT" dirty="0"/>
              <a:t> in </a:t>
            </a:r>
            <a:r>
              <a:rPr lang="pt-PT" dirty="0" err="1"/>
              <a:t>voluptate</a:t>
            </a:r>
            <a:r>
              <a:rPr lang="pt-PT" dirty="0"/>
              <a:t> </a:t>
            </a:r>
            <a:r>
              <a:rPr lang="pt-PT" dirty="0" err="1"/>
              <a:t>velit</a:t>
            </a:r>
            <a:r>
              <a:rPr lang="pt-PT" dirty="0"/>
              <a:t> esse </a:t>
            </a:r>
            <a:r>
              <a:rPr lang="pt-PT" dirty="0" err="1"/>
              <a:t>cillum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eu </a:t>
            </a:r>
            <a:r>
              <a:rPr lang="pt-PT" dirty="0" err="1"/>
              <a:t>fugiat</a:t>
            </a:r>
            <a:r>
              <a:rPr lang="pt-PT" dirty="0"/>
              <a:t> </a:t>
            </a:r>
            <a:r>
              <a:rPr lang="pt-PT" dirty="0" err="1"/>
              <a:t>nulla</a:t>
            </a:r>
            <a:r>
              <a:rPr lang="pt-PT" dirty="0"/>
              <a:t> </a:t>
            </a:r>
            <a:r>
              <a:rPr lang="pt-PT" dirty="0" err="1"/>
              <a:t>pariatur</a:t>
            </a:r>
            <a:r>
              <a:rPr lang="pt-PT" dirty="0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dirty="0" err="1"/>
              <a:t>Fill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creen</a:t>
            </a:r>
            <a:endParaRPr lang="pt-PT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14612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86301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!</a:t>
            </a:r>
          </a:p>
          <a:p>
            <a:pPr lvl="0"/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954499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dirty="0"/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 dirty="0"/>
              <a:t>Picture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dirty="0" err="1"/>
              <a:t>Add</a:t>
            </a:r>
            <a:r>
              <a:rPr lang="pt-PT" dirty="0"/>
              <a:t> a link </a:t>
            </a:r>
            <a:r>
              <a:rPr lang="pt-PT" dirty="0" err="1"/>
              <a:t>here</a:t>
            </a:r>
            <a:endParaRPr lang="pt-PT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Surname</a:t>
            </a:r>
            <a:endParaRPr lang="pt-PT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Position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E-mail </a:t>
            </a:r>
            <a:r>
              <a:rPr lang="pt-PT" dirty="0" err="1"/>
              <a:t>adress</a:t>
            </a:r>
            <a:endParaRPr lang="pt-PT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Phone</a:t>
            </a:r>
            <a:r>
              <a:rPr lang="pt-PT" dirty="0"/>
              <a:t> </a:t>
            </a:r>
            <a:r>
              <a:rPr lang="pt-PT" dirty="0" err="1"/>
              <a:t>number</a:t>
            </a:r>
            <a:endParaRPr lang="pt-PT" dirty="0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dirty="0" err="1"/>
              <a:t>Click</a:t>
            </a:r>
            <a:r>
              <a:rPr lang="pt-PT" baseline="0" dirty="0"/>
              <a:t> </a:t>
            </a:r>
            <a:r>
              <a:rPr lang="pt-PT" baseline="0" dirty="0" err="1"/>
              <a:t>the</a:t>
            </a:r>
            <a:r>
              <a:rPr lang="pt-PT" baseline="0" dirty="0"/>
              <a:t> link:</a:t>
            </a:r>
            <a:endParaRPr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topic’s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  <a:r>
              <a:rPr lang="pt-PT" dirty="0" err="1"/>
              <a:t>her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4160789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49456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731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29249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988566753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88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6"/>
            <a:ext cx="10957984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endParaRPr lang="en-GB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2" y="1556792"/>
            <a:ext cx="10957984" cy="4536504"/>
          </a:xfrm>
          <a:prstGeom prst="rect">
            <a:avLst/>
          </a:prstGeom>
        </p:spPr>
        <p:txBody>
          <a:bodyPr lIns="36000" rIns="36000"/>
          <a:lstStyle>
            <a:lvl1pPr marL="335992" indent="-335992">
              <a:buClrTx/>
              <a:buSzPct val="90000"/>
              <a:defRPr sz="1600"/>
            </a:lvl1pPr>
            <a:lvl2pPr marL="671983" indent="-335992">
              <a:buClr>
                <a:schemeClr val="accent1"/>
              </a:buClr>
              <a:buSzPct val="90000"/>
              <a:defRPr sz="1600"/>
            </a:lvl2pPr>
            <a:lvl3pPr marL="1007975" indent="-335992">
              <a:defRPr sz="1467"/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24422" y="6308728"/>
            <a:ext cx="1246716" cy="288925"/>
          </a:xfrm>
        </p:spPr>
        <p:txBody>
          <a:bodyPr/>
          <a:lstStyle>
            <a:lvl1pPr>
              <a:defRPr/>
            </a:lvl1pPr>
          </a:lstStyle>
          <a:p>
            <a:fld id="{1AABCC67-40D8-9544-BE4E-FFCBCE79AD2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830593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>
            <a:spLocks noChangeArrowheads="1"/>
          </p:cNvSpPr>
          <p:nvPr userDrawn="1"/>
        </p:nvSpPr>
        <p:spPr bwMode="auto">
          <a:xfrm>
            <a:off x="-35984" y="1220756"/>
            <a:ext cx="12227984" cy="5637246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18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45" name="Rectangle 44"/>
          <p:cNvSpPr>
            <a:spLocks noChangeArrowheads="1"/>
          </p:cNvSpPr>
          <p:nvPr userDrawn="1"/>
        </p:nvSpPr>
        <p:spPr bwMode="auto">
          <a:xfrm>
            <a:off x="5712890" y="6642102"/>
            <a:ext cx="698500" cy="33866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1800" b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46" name="Picture 6" descr="LOGO CE-EN-quadri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917" y="393704"/>
            <a:ext cx="1625600" cy="1132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8" name="Straight Connector 13"/>
          <p:cNvCxnSpPr>
            <a:cxnSpLocks noChangeShapeType="1"/>
          </p:cNvCxnSpPr>
          <p:nvPr userDrawn="1"/>
        </p:nvCxnSpPr>
        <p:spPr bwMode="auto">
          <a:xfrm>
            <a:off x="6614592" y="4941888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Straight Connector 15"/>
          <p:cNvCxnSpPr>
            <a:cxnSpLocks noChangeShapeType="1"/>
          </p:cNvCxnSpPr>
          <p:nvPr userDrawn="1"/>
        </p:nvCxnSpPr>
        <p:spPr bwMode="auto">
          <a:xfrm>
            <a:off x="6614592" y="3357563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Rectangle 2" descr="Title" title="title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6614584" y="3429005"/>
            <a:ext cx="4953000" cy="1301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51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614592" y="5013181"/>
            <a:ext cx="4952999" cy="444079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66" y="1453278"/>
            <a:ext cx="5568691" cy="525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5253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>
            <a:spLocks noChangeArrowheads="1"/>
          </p:cNvSpPr>
          <p:nvPr userDrawn="1"/>
        </p:nvSpPr>
        <p:spPr bwMode="auto">
          <a:xfrm>
            <a:off x="-35984" y="1220756"/>
            <a:ext cx="12227984" cy="5637246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18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49" name="Rectangle 48"/>
          <p:cNvSpPr>
            <a:spLocks noChangeArrowheads="1"/>
          </p:cNvSpPr>
          <p:nvPr userDrawn="1"/>
        </p:nvSpPr>
        <p:spPr bwMode="auto">
          <a:xfrm>
            <a:off x="5712890" y="6642102"/>
            <a:ext cx="698500" cy="33866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1800" b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50" name="Picture 6" descr="LOGO CE-EN-quadri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917" y="393704"/>
            <a:ext cx="1625600" cy="1132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angle 2" descr="Title" title="title"/>
          <p:cNvSpPr>
            <a:spLocks noGrp="1" noChangeArrowheads="1"/>
          </p:cNvSpPr>
          <p:nvPr>
            <p:ph type="title"/>
          </p:nvPr>
        </p:nvSpPr>
        <p:spPr bwMode="auto">
          <a:xfrm>
            <a:off x="6614584" y="2105028"/>
            <a:ext cx="4953000" cy="1301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45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614592" y="4466273"/>
            <a:ext cx="4952999" cy="444079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  <p:cxnSp>
        <p:nvCxnSpPr>
          <p:cNvPr id="46" name="Straight Connector 15"/>
          <p:cNvCxnSpPr>
            <a:cxnSpLocks noChangeShapeType="1"/>
          </p:cNvCxnSpPr>
          <p:nvPr userDrawn="1"/>
        </p:nvCxnSpPr>
        <p:spPr bwMode="auto">
          <a:xfrm>
            <a:off x="6614592" y="2049698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Straight Connector 15"/>
          <p:cNvCxnSpPr>
            <a:cxnSpLocks noChangeShapeType="1"/>
          </p:cNvCxnSpPr>
          <p:nvPr userDrawn="1"/>
        </p:nvCxnSpPr>
        <p:spPr bwMode="auto">
          <a:xfrm>
            <a:off x="6614592" y="4413755"/>
            <a:ext cx="2921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66" y="1453278"/>
            <a:ext cx="5568691" cy="525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6222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6"/>
            <a:ext cx="10957984" cy="936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endParaRPr lang="en-GB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2" y="1556792"/>
            <a:ext cx="10957984" cy="453650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/>
            </a:lvl1pPr>
            <a:lvl2pPr marL="672009" indent="-336004">
              <a:buClr>
                <a:schemeClr val="accent1"/>
              </a:buClr>
              <a:buSzPct val="90000"/>
              <a:defRPr sz="1600"/>
            </a:lvl2pPr>
            <a:lvl3pPr marL="1008013" indent="-336004">
              <a:defRPr sz="1467"/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/>
            </a:lvl1pPr>
          </a:lstStyle>
          <a:p>
            <a:fld id="{1AABCC67-40D8-9544-BE4E-FFCBCE79AD2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962262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6"/>
            <a:ext cx="10957984" cy="936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/>
            <a:endParaRPr lang="en-GB" alt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2" y="1556792"/>
            <a:ext cx="5280587" cy="453650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/>
            </a:lvl1pPr>
            <a:lvl2pPr marL="672009" indent="-336004">
              <a:buClr>
                <a:schemeClr val="accent1"/>
              </a:buClr>
              <a:buSzPct val="90000"/>
              <a:defRPr sz="1600"/>
            </a:lvl2pPr>
            <a:lvl3pPr marL="1008013" indent="-336004">
              <a:defRPr sz="1467"/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343658" y="1556792"/>
            <a:ext cx="5237724" cy="453650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/>
            </a:lvl1pPr>
            <a:lvl2pPr marL="672009" indent="-336004">
              <a:buClr>
                <a:schemeClr val="accent1"/>
              </a:buClr>
              <a:buSzPct val="90000"/>
              <a:defRPr sz="1600"/>
            </a:lvl2pPr>
            <a:lvl3pPr marL="1008013" indent="-336004">
              <a:defRPr sz="1467"/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/>
            </a:lvl1pPr>
          </a:lstStyle>
          <a:p>
            <a:fld id="{9B4163E6-03BD-EE49-9B10-1C3025F7C47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790770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527051" y="333378"/>
            <a:ext cx="1056216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algn="ctr">
              <a:defRPr/>
            </a:pPr>
            <a:endParaRPr lang="en-US" altLang="en-US" sz="1467" b="0">
              <a:solidFill>
                <a:srgbClr val="646567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/>
            </a:lvl1pPr>
          </a:lstStyle>
          <a:p>
            <a:fld id="{9B4163E6-03BD-EE49-9B10-1C3025F7C47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43359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155047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page title and half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527051" y="333378"/>
            <a:ext cx="1056216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algn="ctr">
              <a:defRPr/>
            </a:pPr>
            <a:endParaRPr lang="en-US" altLang="en-US" sz="1467" b="0">
              <a:solidFill>
                <a:srgbClr val="646567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512491" y="6213310"/>
            <a:ext cx="1440160" cy="480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t"/>
          <a:lstStyle/>
          <a:p>
            <a:pPr algn="ctr" eaLnBrk="1" hangingPunct="1"/>
            <a:endParaRPr lang="en-GB" sz="1467" b="0" dirty="0">
              <a:solidFill>
                <a:srgbClr val="646567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3261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120651" y="-49214"/>
            <a:ext cx="12433302" cy="6956427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6"/>
            <a:ext cx="10957984" cy="936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3392" y="1556792"/>
            <a:ext cx="10957984" cy="453650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>
                <a:solidFill>
                  <a:schemeClr val="bg1"/>
                </a:solidFill>
              </a:defRPr>
            </a:lvl1pPr>
            <a:lvl2pPr marL="672009" indent="-336004">
              <a:buClr>
                <a:schemeClr val="accent1"/>
              </a:buClr>
              <a:buSzPct val="90000"/>
              <a:defRPr sz="1600">
                <a:solidFill>
                  <a:schemeClr val="bg1"/>
                </a:solidFill>
              </a:defRPr>
            </a:lvl2pPr>
            <a:lvl3pPr marL="1008013" indent="-336004">
              <a:defRPr sz="14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ABCC67-40D8-9544-BE4E-FFCBCE79AD2E}" type="slidenum">
              <a:rPr lang="en-GB" altLang="en-US" smtClean="0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624418" y="404814"/>
            <a:ext cx="768350" cy="0"/>
          </a:xfrm>
          <a:prstGeom prst="line">
            <a:avLst/>
          </a:prstGeom>
          <a:noFill/>
          <a:ln w="12700" cap="sq">
            <a:solidFill>
              <a:schemeClr val="bg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316848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35984" y="0"/>
            <a:ext cx="5564718" cy="68580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624418" y="404814"/>
            <a:ext cx="768350" cy="0"/>
          </a:xfrm>
          <a:prstGeom prst="line">
            <a:avLst/>
          </a:prstGeom>
          <a:noFill/>
          <a:ln w="12700" cap="sq">
            <a:solidFill>
              <a:schemeClr val="bg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2" y="476676"/>
            <a:ext cx="4224470" cy="936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394" y="1646190"/>
            <a:ext cx="4224470" cy="4447107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>
                <a:solidFill>
                  <a:schemeClr val="bg1"/>
                </a:solidFill>
              </a:defRPr>
            </a:lvl1pPr>
            <a:lvl2pPr marL="672009" indent="-336004">
              <a:buClr>
                <a:schemeClr val="bg1"/>
              </a:buClr>
              <a:buSzPct val="90000"/>
              <a:defRPr sz="1600">
                <a:solidFill>
                  <a:schemeClr val="bg1"/>
                </a:solidFill>
              </a:defRPr>
            </a:lvl2pPr>
            <a:lvl3pPr marL="1008013" indent="-336004">
              <a:defRPr sz="14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343652" y="476672"/>
            <a:ext cx="5237723" cy="561662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/>
            </a:lvl1pPr>
            <a:lvl2pPr marL="672009" indent="-336004">
              <a:buClr>
                <a:schemeClr val="accent1"/>
              </a:buClr>
              <a:buSzPct val="90000"/>
              <a:defRPr sz="1600"/>
            </a:lvl2pPr>
            <a:lvl3pPr marL="1008013" indent="-336004">
              <a:defRPr sz="1467"/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60EB91-367D-934D-88F3-EA56A4738ED1}" type="slidenum">
              <a:rPr lang="en-GB" altLang="en-US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2492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35984" y="0"/>
            <a:ext cx="4307782" cy="68580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624418" y="404814"/>
            <a:ext cx="768350" cy="0"/>
          </a:xfrm>
          <a:prstGeom prst="line">
            <a:avLst/>
          </a:prstGeom>
          <a:noFill/>
          <a:ln w="12700" cap="sq">
            <a:solidFill>
              <a:schemeClr val="bg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3396" y="476676"/>
            <a:ext cx="3270263" cy="936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397" y="1646190"/>
            <a:ext cx="3270263" cy="4447107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>
                <a:solidFill>
                  <a:schemeClr val="bg1"/>
                </a:solidFill>
              </a:defRPr>
            </a:lvl1pPr>
            <a:lvl2pPr marL="672009" indent="-336004">
              <a:buClr>
                <a:schemeClr val="bg1"/>
              </a:buClr>
              <a:buSzPct val="90000"/>
              <a:defRPr sz="1600">
                <a:solidFill>
                  <a:schemeClr val="bg1"/>
                </a:solidFill>
              </a:defRPr>
            </a:lvl2pPr>
            <a:lvl3pPr marL="1008013" indent="-336004">
              <a:defRPr sz="14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039884" y="476672"/>
            <a:ext cx="6541492" cy="5616624"/>
          </a:xfrm>
          <a:prstGeom prst="rect">
            <a:avLst/>
          </a:prstGeom>
        </p:spPr>
        <p:txBody>
          <a:bodyPr lIns="36000" rIns="36000"/>
          <a:lstStyle>
            <a:lvl1pPr marL="336004" indent="-336004">
              <a:buClrTx/>
              <a:buSzPct val="90000"/>
              <a:defRPr sz="1600"/>
            </a:lvl1pPr>
            <a:lvl2pPr marL="672009" indent="-336004">
              <a:buClr>
                <a:schemeClr val="accent1"/>
              </a:buClr>
              <a:buSzPct val="90000"/>
              <a:defRPr sz="1600"/>
            </a:lvl2pPr>
            <a:lvl3pPr marL="1008013" indent="-336004">
              <a:defRPr sz="1467"/>
            </a:lvl3pPr>
          </a:lstStyle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624422" y="6308728"/>
            <a:ext cx="1246716" cy="2889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60EB91-367D-934D-88F3-EA56A4738ED1}" type="slidenum">
              <a:rPr lang="en-GB" altLang="en-US">
                <a:solidFill>
                  <a:srgbClr val="FFFFFF"/>
                </a:solidFill>
              </a:rPr>
              <a:pPr/>
              <a:t>‹#›</a:t>
            </a:fld>
            <a:endParaRPr lang="en-GB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4806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-120651" y="-49214"/>
            <a:ext cx="12433302" cy="6956427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51454" y="5037156"/>
            <a:ext cx="9316131" cy="468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51458" y="5505468"/>
            <a:ext cx="9316130" cy="347116"/>
          </a:xfrm>
          <a:prstGeom prst="rect">
            <a:avLst/>
          </a:prstGeom>
        </p:spPr>
        <p:txBody>
          <a:bodyPr/>
          <a:lstStyle>
            <a:lvl1pPr>
              <a:buNone/>
              <a:defRPr sz="1334">
                <a:solidFill>
                  <a:schemeClr val="bg1"/>
                </a:solidFill>
              </a:defRPr>
            </a:lvl1pPr>
          </a:lstStyle>
          <a:p>
            <a:pPr lvl="0"/>
            <a:endParaRPr lang="nl-BE" dirty="0"/>
          </a:p>
        </p:txBody>
      </p:sp>
      <p:grpSp>
        <p:nvGrpSpPr>
          <p:cNvPr id="10" name="Group 6"/>
          <p:cNvGrpSpPr>
            <a:grpSpLocks/>
          </p:cNvGrpSpPr>
          <p:nvPr userDrawn="1"/>
        </p:nvGrpSpPr>
        <p:grpSpPr bwMode="auto">
          <a:xfrm>
            <a:off x="624418" y="4512737"/>
            <a:ext cx="1327150" cy="1316567"/>
            <a:chOff x="539552" y="3384721"/>
            <a:chExt cx="996062" cy="987108"/>
          </a:xfrm>
        </p:grpSpPr>
        <p:sp>
          <p:nvSpPr>
            <p:cNvPr id="11" name="Rectangle 10"/>
            <p:cNvSpPr>
              <a:spLocks noChangeAspect="1"/>
            </p:cNvSpPr>
            <p:nvPr/>
          </p:nvSpPr>
          <p:spPr bwMode="auto">
            <a:xfrm>
              <a:off x="539552" y="3384721"/>
              <a:ext cx="770478" cy="77127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b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>
              <a:spLocks noChangeAspect="1"/>
            </p:cNvSpPr>
            <p:nvPr/>
          </p:nvSpPr>
          <p:spPr bwMode="auto">
            <a:xfrm>
              <a:off x="650755" y="3492636"/>
              <a:ext cx="773656" cy="77127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8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0">
                  <a:solidFill>
                    <a:srgbClr val="FFFFFF"/>
                  </a:solidFill>
                </a:rPr>
                <a:t>Y</a:t>
              </a:r>
            </a:p>
          </p:txBody>
        </p:sp>
        <p:sp>
          <p:nvSpPr>
            <p:cNvPr id="13" name="Rectangle 12"/>
            <p:cNvSpPr>
              <a:spLocks noChangeAspect="1"/>
            </p:cNvSpPr>
            <p:nvPr/>
          </p:nvSpPr>
          <p:spPr bwMode="auto">
            <a:xfrm>
              <a:off x="765136" y="3600552"/>
              <a:ext cx="770478" cy="7712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1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srgbClr val="43C2CB"/>
                </a:solidFill>
              </a:endParaRPr>
            </a:p>
          </p:txBody>
        </p:sp>
      </p:grp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23794" y="4800837"/>
            <a:ext cx="1027687" cy="1028271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algn="ctr">
              <a:buNone/>
              <a:defRPr sz="2800" b="1">
                <a:solidFill>
                  <a:srgbClr val="0F5494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9995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0651" y="-49214"/>
            <a:ext cx="12433302" cy="6956427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7935" y="1515504"/>
            <a:ext cx="9316131" cy="3826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>
            <a:lvl1pPr algn="ctr">
              <a:defRPr sz="3200" b="1" i="1">
                <a:solidFill>
                  <a:schemeClr val="bg1"/>
                </a:solidFill>
              </a:defRPr>
            </a:lvl1pPr>
          </a:lstStyle>
          <a:p>
            <a:pPr lvl="0"/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2767476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6288022" y="-123392"/>
            <a:ext cx="6038851" cy="7129463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" name="TextBox 5" title="0"/>
          <p:cNvSpPr txBox="1"/>
          <p:nvPr userDrawn="1"/>
        </p:nvSpPr>
        <p:spPr>
          <a:xfrm>
            <a:off x="7266714" y="4905376"/>
            <a:ext cx="3507316" cy="20531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en-GB" sz="1334">
                <a:solidFill>
                  <a:srgbClr val="FFFFFF"/>
                </a:solidFill>
              </a:rPr>
              <a:t>Contact us 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7211941" y="5732464"/>
            <a:ext cx="41414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>
              <a:defRPr/>
            </a:pPr>
            <a:r>
              <a:rPr lang="en-GB" altLang="en-US" sz="800" b="0" dirty="0">
                <a:solidFill>
                  <a:srgbClr val="FFFFFF"/>
                </a:solidFill>
              </a:rPr>
              <a:t>© European Union, 2017. All rights reserved. Certain parts are licensed under conditions to the EU. </a:t>
            </a:r>
          </a:p>
          <a:p>
            <a:pPr>
              <a:defRPr/>
            </a:pPr>
            <a:r>
              <a:rPr lang="en-GB" altLang="en-US" sz="800" b="0" dirty="0">
                <a:solidFill>
                  <a:srgbClr val="FFFFFF"/>
                </a:solidFill>
              </a:rPr>
              <a:t>Reproduction is authorized provided the source is acknowledged.</a:t>
            </a:r>
          </a:p>
        </p:txBody>
      </p:sp>
      <p:cxnSp>
        <p:nvCxnSpPr>
          <p:cNvPr id="8" name="Straight Connector 9"/>
          <p:cNvCxnSpPr>
            <a:cxnSpLocks noChangeShapeType="1"/>
          </p:cNvCxnSpPr>
          <p:nvPr userDrawn="1"/>
        </p:nvCxnSpPr>
        <p:spPr bwMode="auto">
          <a:xfrm>
            <a:off x="7266708" y="4752975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6"/>
          <p:cNvCxnSpPr>
            <a:cxnSpLocks noChangeShapeType="1"/>
          </p:cNvCxnSpPr>
          <p:nvPr userDrawn="1"/>
        </p:nvCxnSpPr>
        <p:spPr bwMode="auto">
          <a:xfrm>
            <a:off x="7266708" y="5659439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527051" y="333378"/>
            <a:ext cx="1219200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175"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eaLnBrk="1" hangingPunct="1">
              <a:defRPr/>
            </a:pPr>
            <a:endParaRPr lang="en-US" altLang="en-US" sz="10134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7713134" y="5157196"/>
            <a:ext cx="3391835" cy="287943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1"/>
          </p:nvPr>
        </p:nvSpPr>
        <p:spPr>
          <a:xfrm>
            <a:off x="7264124" y="836713"/>
            <a:ext cx="3951286" cy="3762007"/>
          </a:xfrm>
          <a:prstGeom prst="rect">
            <a:avLst/>
          </a:prstGeom>
        </p:spPr>
        <p:txBody>
          <a:bodyPr anchor="b"/>
          <a:lstStyle>
            <a:lvl1pPr>
              <a:buNone/>
              <a:defRPr sz="1334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8" name="Oval 17"/>
          <p:cNvSpPr/>
          <p:nvPr userDrawn="1"/>
        </p:nvSpPr>
        <p:spPr bwMode="auto">
          <a:xfrm>
            <a:off x="7362897" y="5184820"/>
            <a:ext cx="239183" cy="2413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67" i="1">
              <a:solidFill>
                <a:srgbClr val="FFFFFF"/>
              </a:solidFill>
              <a:latin typeface="Times" charset="0"/>
              <a:ea typeface="Times" charset="0"/>
              <a:cs typeface="Times" charset="0"/>
            </a:endParaRPr>
          </a:p>
        </p:txBody>
      </p:sp>
      <p:sp>
        <p:nvSpPr>
          <p:cNvPr id="19" name="Freeform 9275"/>
          <p:cNvSpPr>
            <a:spLocks noChangeAspect="1"/>
          </p:cNvSpPr>
          <p:nvPr userDrawn="1"/>
        </p:nvSpPr>
        <p:spPr bwMode="auto">
          <a:xfrm>
            <a:off x="7413756" y="5256860"/>
            <a:ext cx="135387" cy="56862"/>
          </a:xfrm>
          <a:custGeom>
            <a:avLst/>
            <a:gdLst>
              <a:gd name="T0" fmla="*/ 0 w 1513"/>
              <a:gd name="T1" fmla="*/ 28 h 615"/>
              <a:gd name="T2" fmla="*/ 316 w 1513"/>
              <a:gd name="T3" fmla="*/ 280 h 615"/>
              <a:gd name="T4" fmla="*/ 799 w 1513"/>
              <a:gd name="T5" fmla="*/ 615 h 615"/>
              <a:gd name="T6" fmla="*/ 1207 w 1513"/>
              <a:gd name="T7" fmla="*/ 294 h 615"/>
              <a:gd name="T8" fmla="*/ 1513 w 1513"/>
              <a:gd name="T9" fmla="*/ 16 h 615"/>
              <a:gd name="T10" fmla="*/ 1429 w 1513"/>
              <a:gd name="T11" fmla="*/ 0 h 615"/>
              <a:gd name="T12" fmla="*/ 89 w 1513"/>
              <a:gd name="T13" fmla="*/ 0 h 615"/>
              <a:gd name="T14" fmla="*/ 0 w 1513"/>
              <a:gd name="T15" fmla="*/ 28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13" h="615">
                <a:moveTo>
                  <a:pt x="0" y="28"/>
                </a:moveTo>
                <a:cubicBezTo>
                  <a:pt x="0" y="28"/>
                  <a:pt x="143" y="151"/>
                  <a:pt x="316" y="280"/>
                </a:cubicBezTo>
                <a:cubicBezTo>
                  <a:pt x="547" y="458"/>
                  <a:pt x="772" y="615"/>
                  <a:pt x="799" y="615"/>
                </a:cubicBezTo>
                <a:cubicBezTo>
                  <a:pt x="823" y="615"/>
                  <a:pt x="915" y="541"/>
                  <a:pt x="1207" y="294"/>
                </a:cubicBezTo>
                <a:cubicBezTo>
                  <a:pt x="1363" y="161"/>
                  <a:pt x="1513" y="16"/>
                  <a:pt x="1513" y="16"/>
                </a:cubicBezTo>
                <a:cubicBezTo>
                  <a:pt x="1513" y="16"/>
                  <a:pt x="1487" y="2"/>
                  <a:pt x="1429" y="0"/>
                </a:cubicBezTo>
                <a:cubicBezTo>
                  <a:pt x="1429" y="0"/>
                  <a:pt x="160" y="0"/>
                  <a:pt x="89" y="0"/>
                </a:cubicBezTo>
                <a:cubicBezTo>
                  <a:pt x="49" y="0"/>
                  <a:pt x="14" y="10"/>
                  <a:pt x="0" y="28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0" name="Freeform 9276"/>
          <p:cNvSpPr>
            <a:spLocks noChangeAspect="1"/>
          </p:cNvSpPr>
          <p:nvPr userDrawn="1"/>
        </p:nvSpPr>
        <p:spPr bwMode="auto">
          <a:xfrm>
            <a:off x="7408168" y="5263688"/>
            <a:ext cx="60420" cy="89842"/>
          </a:xfrm>
          <a:custGeom>
            <a:avLst/>
            <a:gdLst>
              <a:gd name="T0" fmla="*/ 4 w 675"/>
              <a:gd name="T1" fmla="*/ 132 h 957"/>
              <a:gd name="T2" fmla="*/ 16 w 675"/>
              <a:gd name="T3" fmla="*/ 6 h 957"/>
              <a:gd name="T4" fmla="*/ 675 w 675"/>
              <a:gd name="T5" fmla="*/ 513 h 957"/>
              <a:gd name="T6" fmla="*/ 84 w 675"/>
              <a:gd name="T7" fmla="*/ 957 h 957"/>
              <a:gd name="T8" fmla="*/ 3 w 675"/>
              <a:gd name="T9" fmla="*/ 771 h 957"/>
              <a:gd name="T10" fmla="*/ 4 w 675"/>
              <a:gd name="T11" fmla="*/ 132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5" h="957">
                <a:moveTo>
                  <a:pt x="4" y="132"/>
                </a:moveTo>
                <a:cubicBezTo>
                  <a:pt x="6" y="0"/>
                  <a:pt x="16" y="6"/>
                  <a:pt x="16" y="6"/>
                </a:cubicBezTo>
                <a:lnTo>
                  <a:pt x="675" y="513"/>
                </a:lnTo>
                <a:lnTo>
                  <a:pt x="84" y="957"/>
                </a:lnTo>
                <a:cubicBezTo>
                  <a:pt x="84" y="957"/>
                  <a:pt x="3" y="951"/>
                  <a:pt x="3" y="771"/>
                </a:cubicBezTo>
                <a:cubicBezTo>
                  <a:pt x="3" y="737"/>
                  <a:pt x="0" y="342"/>
                  <a:pt x="4" y="132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1" name="Freeform 9277"/>
          <p:cNvSpPr>
            <a:spLocks noChangeAspect="1"/>
          </p:cNvSpPr>
          <p:nvPr userDrawn="1"/>
        </p:nvSpPr>
        <p:spPr bwMode="auto">
          <a:xfrm>
            <a:off x="7499917" y="5263116"/>
            <a:ext cx="55946" cy="86430"/>
          </a:xfrm>
          <a:custGeom>
            <a:avLst/>
            <a:gdLst>
              <a:gd name="T0" fmla="*/ 0 w 628"/>
              <a:gd name="T1" fmla="*/ 511 h 921"/>
              <a:gd name="T2" fmla="*/ 597 w 628"/>
              <a:gd name="T3" fmla="*/ 0 h 921"/>
              <a:gd name="T4" fmla="*/ 627 w 628"/>
              <a:gd name="T5" fmla="*/ 96 h 921"/>
              <a:gd name="T6" fmla="*/ 628 w 628"/>
              <a:gd name="T7" fmla="*/ 792 h 921"/>
              <a:gd name="T8" fmla="*/ 615 w 628"/>
              <a:gd name="T9" fmla="*/ 921 h 921"/>
              <a:gd name="T10" fmla="*/ 0 w 628"/>
              <a:gd name="T11" fmla="*/ 511 h 9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8" h="921">
                <a:moveTo>
                  <a:pt x="0" y="511"/>
                </a:moveTo>
                <a:lnTo>
                  <a:pt x="597" y="0"/>
                </a:lnTo>
                <a:cubicBezTo>
                  <a:pt x="597" y="0"/>
                  <a:pt x="627" y="26"/>
                  <a:pt x="627" y="96"/>
                </a:cubicBezTo>
                <a:lnTo>
                  <a:pt x="628" y="792"/>
                </a:lnTo>
                <a:cubicBezTo>
                  <a:pt x="628" y="792"/>
                  <a:pt x="623" y="903"/>
                  <a:pt x="615" y="921"/>
                </a:cubicBezTo>
                <a:lnTo>
                  <a:pt x="0" y="511"/>
                </a:lnTo>
                <a:close/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2" name="Freeform 9278"/>
          <p:cNvSpPr>
            <a:spLocks noChangeAspect="1"/>
          </p:cNvSpPr>
          <p:nvPr userDrawn="1"/>
        </p:nvSpPr>
        <p:spPr bwMode="auto">
          <a:xfrm>
            <a:off x="7424386" y="5314860"/>
            <a:ext cx="125318" cy="39235"/>
          </a:xfrm>
          <a:custGeom>
            <a:avLst/>
            <a:gdLst>
              <a:gd name="T0" fmla="*/ 560 w 1406"/>
              <a:gd name="T1" fmla="*/ 0 h 424"/>
              <a:gd name="T2" fmla="*/ 684 w 1406"/>
              <a:gd name="T3" fmla="*/ 66 h 424"/>
              <a:gd name="T4" fmla="*/ 790 w 1406"/>
              <a:gd name="T5" fmla="*/ 10 h 424"/>
              <a:gd name="T6" fmla="*/ 1406 w 1406"/>
              <a:gd name="T7" fmla="*/ 417 h 424"/>
              <a:gd name="T8" fmla="*/ 1349 w 1406"/>
              <a:gd name="T9" fmla="*/ 423 h 424"/>
              <a:gd name="T10" fmla="*/ 0 w 1406"/>
              <a:gd name="T11" fmla="*/ 423 h 424"/>
              <a:gd name="T12" fmla="*/ 560 w 1406"/>
              <a:gd name="T13" fmla="*/ 0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6" h="424">
                <a:moveTo>
                  <a:pt x="560" y="0"/>
                </a:moveTo>
                <a:cubicBezTo>
                  <a:pt x="583" y="14"/>
                  <a:pt x="646" y="66"/>
                  <a:pt x="684" y="66"/>
                </a:cubicBezTo>
                <a:cubicBezTo>
                  <a:pt x="722" y="66"/>
                  <a:pt x="790" y="10"/>
                  <a:pt x="790" y="10"/>
                </a:cubicBezTo>
                <a:lnTo>
                  <a:pt x="1406" y="417"/>
                </a:lnTo>
                <a:cubicBezTo>
                  <a:pt x="1406" y="417"/>
                  <a:pt x="1384" y="424"/>
                  <a:pt x="1349" y="423"/>
                </a:cubicBezTo>
                <a:lnTo>
                  <a:pt x="0" y="423"/>
                </a:lnTo>
                <a:cubicBezTo>
                  <a:pt x="0" y="423"/>
                  <a:pt x="541" y="19"/>
                  <a:pt x="560" y="0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</p:spTree>
    <p:extLst>
      <p:ext uri="{BB962C8B-B14F-4D97-AF65-F5344CB8AC3E}">
        <p14:creationId xmlns:p14="http://schemas.microsoft.com/office/powerpoint/2010/main" val="42168384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7728182" y="-123392"/>
            <a:ext cx="4598691" cy="7129463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400" b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" name="TextBox 5" title="0"/>
          <p:cNvSpPr txBox="1"/>
          <p:nvPr userDrawn="1"/>
        </p:nvSpPr>
        <p:spPr>
          <a:xfrm>
            <a:off x="8058040" y="4905376"/>
            <a:ext cx="3507316" cy="20531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en-GB" sz="1334">
                <a:solidFill>
                  <a:srgbClr val="FFFFFF"/>
                </a:solidFill>
              </a:rPr>
              <a:t>Contact us 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003266" y="5732464"/>
            <a:ext cx="41414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>
              <a:defRPr/>
            </a:pPr>
            <a:r>
              <a:rPr lang="en-GB" altLang="en-US" sz="800" b="0" dirty="0">
                <a:solidFill>
                  <a:srgbClr val="FFFFFF"/>
                </a:solidFill>
              </a:rPr>
              <a:t>© European Union, 2017. All rights reserved. Certain parts are licensed under conditions to the EU. </a:t>
            </a:r>
          </a:p>
          <a:p>
            <a:pPr>
              <a:defRPr/>
            </a:pPr>
            <a:r>
              <a:rPr lang="en-GB" altLang="en-US" sz="800" b="0" dirty="0">
                <a:solidFill>
                  <a:srgbClr val="FFFFFF"/>
                </a:solidFill>
              </a:rPr>
              <a:t>Reproduction is authorized provided the source is acknowledged.</a:t>
            </a:r>
          </a:p>
        </p:txBody>
      </p:sp>
      <p:cxnSp>
        <p:nvCxnSpPr>
          <p:cNvPr id="8" name="Straight Connector 9"/>
          <p:cNvCxnSpPr>
            <a:cxnSpLocks noChangeShapeType="1"/>
          </p:cNvCxnSpPr>
          <p:nvPr userDrawn="1"/>
        </p:nvCxnSpPr>
        <p:spPr bwMode="auto">
          <a:xfrm>
            <a:off x="8058034" y="4752975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6"/>
          <p:cNvCxnSpPr>
            <a:cxnSpLocks noChangeShapeType="1"/>
          </p:cNvCxnSpPr>
          <p:nvPr userDrawn="1"/>
        </p:nvCxnSpPr>
        <p:spPr bwMode="auto">
          <a:xfrm>
            <a:off x="8058034" y="5659439"/>
            <a:ext cx="39493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527051" y="333378"/>
            <a:ext cx="1219200" cy="142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175">
              <a:defRPr sz="7600" b="1">
                <a:solidFill>
                  <a:srgbClr val="FFD624"/>
                </a:solidFill>
                <a:latin typeface="Verdana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</a:defRPr>
            </a:lvl9pPr>
          </a:lstStyle>
          <a:p>
            <a:pPr eaLnBrk="1" hangingPunct="1">
              <a:defRPr/>
            </a:pPr>
            <a:endParaRPr lang="en-US" altLang="en-US" sz="10134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8504459" y="5157196"/>
            <a:ext cx="3391835" cy="287943"/>
          </a:xfrm>
          <a:prstGeom prst="rect">
            <a:avLst/>
          </a:prstGeom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1"/>
          </p:nvPr>
        </p:nvSpPr>
        <p:spPr>
          <a:xfrm>
            <a:off x="8055450" y="836713"/>
            <a:ext cx="3951286" cy="3762007"/>
          </a:xfrm>
          <a:prstGeom prst="rect">
            <a:avLst/>
          </a:prstGeom>
        </p:spPr>
        <p:txBody>
          <a:bodyPr anchor="b"/>
          <a:lstStyle>
            <a:lvl1pPr>
              <a:buNone/>
              <a:defRPr sz="1334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8" name="Oval 17"/>
          <p:cNvSpPr/>
          <p:nvPr userDrawn="1"/>
        </p:nvSpPr>
        <p:spPr bwMode="auto">
          <a:xfrm>
            <a:off x="8154222" y="5184820"/>
            <a:ext cx="239183" cy="2413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67" i="1">
              <a:solidFill>
                <a:srgbClr val="FFFFFF"/>
              </a:solidFill>
              <a:latin typeface="Times" charset="0"/>
              <a:ea typeface="Times" charset="0"/>
              <a:cs typeface="Times" charset="0"/>
            </a:endParaRPr>
          </a:p>
        </p:txBody>
      </p:sp>
      <p:sp>
        <p:nvSpPr>
          <p:cNvPr id="19" name="Freeform 9275"/>
          <p:cNvSpPr>
            <a:spLocks noChangeAspect="1"/>
          </p:cNvSpPr>
          <p:nvPr userDrawn="1"/>
        </p:nvSpPr>
        <p:spPr bwMode="auto">
          <a:xfrm>
            <a:off x="8205081" y="5256860"/>
            <a:ext cx="135387" cy="56862"/>
          </a:xfrm>
          <a:custGeom>
            <a:avLst/>
            <a:gdLst>
              <a:gd name="T0" fmla="*/ 0 w 1513"/>
              <a:gd name="T1" fmla="*/ 28 h 615"/>
              <a:gd name="T2" fmla="*/ 316 w 1513"/>
              <a:gd name="T3" fmla="*/ 280 h 615"/>
              <a:gd name="T4" fmla="*/ 799 w 1513"/>
              <a:gd name="T5" fmla="*/ 615 h 615"/>
              <a:gd name="T6" fmla="*/ 1207 w 1513"/>
              <a:gd name="T7" fmla="*/ 294 h 615"/>
              <a:gd name="T8" fmla="*/ 1513 w 1513"/>
              <a:gd name="T9" fmla="*/ 16 h 615"/>
              <a:gd name="T10" fmla="*/ 1429 w 1513"/>
              <a:gd name="T11" fmla="*/ 0 h 615"/>
              <a:gd name="T12" fmla="*/ 89 w 1513"/>
              <a:gd name="T13" fmla="*/ 0 h 615"/>
              <a:gd name="T14" fmla="*/ 0 w 1513"/>
              <a:gd name="T15" fmla="*/ 28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13" h="615">
                <a:moveTo>
                  <a:pt x="0" y="28"/>
                </a:moveTo>
                <a:cubicBezTo>
                  <a:pt x="0" y="28"/>
                  <a:pt x="143" y="151"/>
                  <a:pt x="316" y="280"/>
                </a:cubicBezTo>
                <a:cubicBezTo>
                  <a:pt x="547" y="458"/>
                  <a:pt x="772" y="615"/>
                  <a:pt x="799" y="615"/>
                </a:cubicBezTo>
                <a:cubicBezTo>
                  <a:pt x="823" y="615"/>
                  <a:pt x="915" y="541"/>
                  <a:pt x="1207" y="294"/>
                </a:cubicBezTo>
                <a:cubicBezTo>
                  <a:pt x="1363" y="161"/>
                  <a:pt x="1513" y="16"/>
                  <a:pt x="1513" y="16"/>
                </a:cubicBezTo>
                <a:cubicBezTo>
                  <a:pt x="1513" y="16"/>
                  <a:pt x="1487" y="2"/>
                  <a:pt x="1429" y="0"/>
                </a:cubicBezTo>
                <a:cubicBezTo>
                  <a:pt x="1429" y="0"/>
                  <a:pt x="160" y="0"/>
                  <a:pt x="89" y="0"/>
                </a:cubicBezTo>
                <a:cubicBezTo>
                  <a:pt x="49" y="0"/>
                  <a:pt x="14" y="10"/>
                  <a:pt x="0" y="28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0" name="Freeform 9276"/>
          <p:cNvSpPr>
            <a:spLocks noChangeAspect="1"/>
          </p:cNvSpPr>
          <p:nvPr userDrawn="1"/>
        </p:nvSpPr>
        <p:spPr bwMode="auto">
          <a:xfrm>
            <a:off x="8199493" y="5263688"/>
            <a:ext cx="60420" cy="89842"/>
          </a:xfrm>
          <a:custGeom>
            <a:avLst/>
            <a:gdLst>
              <a:gd name="T0" fmla="*/ 4 w 675"/>
              <a:gd name="T1" fmla="*/ 132 h 957"/>
              <a:gd name="T2" fmla="*/ 16 w 675"/>
              <a:gd name="T3" fmla="*/ 6 h 957"/>
              <a:gd name="T4" fmla="*/ 675 w 675"/>
              <a:gd name="T5" fmla="*/ 513 h 957"/>
              <a:gd name="T6" fmla="*/ 84 w 675"/>
              <a:gd name="T7" fmla="*/ 957 h 957"/>
              <a:gd name="T8" fmla="*/ 3 w 675"/>
              <a:gd name="T9" fmla="*/ 771 h 957"/>
              <a:gd name="T10" fmla="*/ 4 w 675"/>
              <a:gd name="T11" fmla="*/ 132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5" h="957">
                <a:moveTo>
                  <a:pt x="4" y="132"/>
                </a:moveTo>
                <a:cubicBezTo>
                  <a:pt x="6" y="0"/>
                  <a:pt x="16" y="6"/>
                  <a:pt x="16" y="6"/>
                </a:cubicBezTo>
                <a:lnTo>
                  <a:pt x="675" y="513"/>
                </a:lnTo>
                <a:lnTo>
                  <a:pt x="84" y="957"/>
                </a:lnTo>
                <a:cubicBezTo>
                  <a:pt x="84" y="957"/>
                  <a:pt x="3" y="951"/>
                  <a:pt x="3" y="771"/>
                </a:cubicBezTo>
                <a:cubicBezTo>
                  <a:pt x="3" y="737"/>
                  <a:pt x="0" y="342"/>
                  <a:pt x="4" y="132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1" name="Freeform 9277"/>
          <p:cNvSpPr>
            <a:spLocks noChangeAspect="1"/>
          </p:cNvSpPr>
          <p:nvPr userDrawn="1"/>
        </p:nvSpPr>
        <p:spPr bwMode="auto">
          <a:xfrm>
            <a:off x="8291242" y="5263116"/>
            <a:ext cx="55946" cy="86430"/>
          </a:xfrm>
          <a:custGeom>
            <a:avLst/>
            <a:gdLst>
              <a:gd name="T0" fmla="*/ 0 w 628"/>
              <a:gd name="T1" fmla="*/ 511 h 921"/>
              <a:gd name="T2" fmla="*/ 597 w 628"/>
              <a:gd name="T3" fmla="*/ 0 h 921"/>
              <a:gd name="T4" fmla="*/ 627 w 628"/>
              <a:gd name="T5" fmla="*/ 96 h 921"/>
              <a:gd name="T6" fmla="*/ 628 w 628"/>
              <a:gd name="T7" fmla="*/ 792 h 921"/>
              <a:gd name="T8" fmla="*/ 615 w 628"/>
              <a:gd name="T9" fmla="*/ 921 h 921"/>
              <a:gd name="T10" fmla="*/ 0 w 628"/>
              <a:gd name="T11" fmla="*/ 511 h 9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8" h="921">
                <a:moveTo>
                  <a:pt x="0" y="511"/>
                </a:moveTo>
                <a:lnTo>
                  <a:pt x="597" y="0"/>
                </a:lnTo>
                <a:cubicBezTo>
                  <a:pt x="597" y="0"/>
                  <a:pt x="627" y="26"/>
                  <a:pt x="627" y="96"/>
                </a:cubicBezTo>
                <a:lnTo>
                  <a:pt x="628" y="792"/>
                </a:lnTo>
                <a:cubicBezTo>
                  <a:pt x="628" y="792"/>
                  <a:pt x="623" y="903"/>
                  <a:pt x="615" y="921"/>
                </a:cubicBezTo>
                <a:lnTo>
                  <a:pt x="0" y="511"/>
                </a:lnTo>
                <a:close/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  <p:sp>
        <p:nvSpPr>
          <p:cNvPr id="22" name="Freeform 9278"/>
          <p:cNvSpPr>
            <a:spLocks noChangeAspect="1"/>
          </p:cNvSpPr>
          <p:nvPr userDrawn="1"/>
        </p:nvSpPr>
        <p:spPr bwMode="auto">
          <a:xfrm>
            <a:off x="8215711" y="5314860"/>
            <a:ext cx="125318" cy="39235"/>
          </a:xfrm>
          <a:custGeom>
            <a:avLst/>
            <a:gdLst>
              <a:gd name="T0" fmla="*/ 560 w 1406"/>
              <a:gd name="T1" fmla="*/ 0 h 424"/>
              <a:gd name="T2" fmla="*/ 684 w 1406"/>
              <a:gd name="T3" fmla="*/ 66 h 424"/>
              <a:gd name="T4" fmla="*/ 790 w 1406"/>
              <a:gd name="T5" fmla="*/ 10 h 424"/>
              <a:gd name="T6" fmla="*/ 1406 w 1406"/>
              <a:gd name="T7" fmla="*/ 417 h 424"/>
              <a:gd name="T8" fmla="*/ 1349 w 1406"/>
              <a:gd name="T9" fmla="*/ 423 h 424"/>
              <a:gd name="T10" fmla="*/ 0 w 1406"/>
              <a:gd name="T11" fmla="*/ 423 h 424"/>
              <a:gd name="T12" fmla="*/ 560 w 1406"/>
              <a:gd name="T13" fmla="*/ 0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6" h="424">
                <a:moveTo>
                  <a:pt x="560" y="0"/>
                </a:moveTo>
                <a:cubicBezTo>
                  <a:pt x="583" y="14"/>
                  <a:pt x="646" y="66"/>
                  <a:pt x="684" y="66"/>
                </a:cubicBezTo>
                <a:cubicBezTo>
                  <a:pt x="722" y="66"/>
                  <a:pt x="790" y="10"/>
                  <a:pt x="790" y="10"/>
                </a:cubicBezTo>
                <a:lnTo>
                  <a:pt x="1406" y="417"/>
                </a:lnTo>
                <a:cubicBezTo>
                  <a:pt x="1406" y="417"/>
                  <a:pt x="1384" y="424"/>
                  <a:pt x="1349" y="423"/>
                </a:cubicBezTo>
                <a:lnTo>
                  <a:pt x="0" y="423"/>
                </a:lnTo>
                <a:cubicBezTo>
                  <a:pt x="0" y="423"/>
                  <a:pt x="541" y="19"/>
                  <a:pt x="560" y="0"/>
                </a:cubicBezTo>
              </a:path>
            </a:pathLst>
          </a:custGeom>
          <a:solidFill>
            <a:srgbClr val="0F5494"/>
          </a:solidFill>
          <a:ln w="0">
            <a:noFill/>
            <a:prstDash val="solid"/>
            <a:round/>
            <a:headEnd/>
            <a:tailEnd/>
          </a:ln>
        </p:spPr>
        <p:txBody>
          <a:bodyPr lIns="135868" tIns="67934" rIns="135868" bIns="67934"/>
          <a:lstStyle/>
          <a:p>
            <a:pPr eaLnBrk="1" hangingPunct="1">
              <a:defRPr/>
            </a:pPr>
            <a:endParaRPr lang="it-IT" sz="7200"/>
          </a:p>
        </p:txBody>
      </p:sp>
    </p:spTree>
    <p:extLst>
      <p:ext uri="{BB962C8B-B14F-4D97-AF65-F5344CB8AC3E}">
        <p14:creationId xmlns:p14="http://schemas.microsoft.com/office/powerpoint/2010/main" val="14364203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0" y="1314450"/>
            <a:ext cx="10363200" cy="244792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8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049322" y="3932305"/>
            <a:ext cx="2214466" cy="522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4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914400" y="4154493"/>
            <a:ext cx="10363200" cy="173195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609608" indent="0" algn="ctr">
              <a:buNone/>
              <a:defRPr sz="2667"/>
            </a:lvl2pPr>
            <a:lvl3pPr marL="1219215" indent="0" algn="ctr">
              <a:buNone/>
              <a:defRPr sz="2400"/>
            </a:lvl3pPr>
            <a:lvl4pPr marL="1828823" indent="0" algn="ctr">
              <a:buNone/>
              <a:defRPr sz="2134"/>
            </a:lvl4pPr>
            <a:lvl5pPr marL="2438431" indent="0" algn="ctr">
              <a:buNone/>
              <a:defRPr sz="2134"/>
            </a:lvl5pPr>
            <a:lvl6pPr marL="3048038" indent="0" algn="ctr">
              <a:buNone/>
              <a:defRPr sz="2134"/>
            </a:lvl6pPr>
            <a:lvl7pPr marL="3657646" indent="0" algn="ctr">
              <a:buNone/>
              <a:defRPr sz="2134"/>
            </a:lvl7pPr>
            <a:lvl8pPr marL="4267254" indent="0" algn="ctr">
              <a:buNone/>
              <a:defRPr sz="2134"/>
            </a:lvl8pPr>
            <a:lvl9pPr marL="4876861" indent="0" algn="ctr">
              <a:buNone/>
              <a:defRPr sz="213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46" y="6362868"/>
            <a:ext cx="2583810" cy="605582"/>
          </a:xfrm>
          <a:prstGeom prst="rect">
            <a:avLst/>
          </a:prstGeom>
        </p:spPr>
      </p:pic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728202" y="6578084"/>
            <a:ext cx="1002279" cy="2087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19902" y="6578085"/>
            <a:ext cx="2908300" cy="2087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30481" y="6578084"/>
            <a:ext cx="623322" cy="2087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BB8A39D-7510-F044-B05A-42ED954CBA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117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39853"/>
            <a:ext cx="10972800" cy="9366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376"/>
            <a:ext cx="10972800" cy="352901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45226"/>
            <a:ext cx="28448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245226"/>
            <a:ext cx="38608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479144-3931-4FD9-8C93-D72BA4F36D6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28525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81071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9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2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3" lvl="0" indent="-228603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1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3" lvl="0" indent="-228603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85446114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57556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70138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678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2117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59480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65138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r>
              <a:rPr lang="pt-PT" dirty="0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1413437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33123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005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50131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109728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471484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33194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81503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467933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22368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22368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179172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179172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35976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35976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292779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292779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349583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349583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06386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06386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1552793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130434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2688865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274422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382493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392973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7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838200" y="555726"/>
            <a:ext cx="10515600" cy="356432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6440426" y="4617680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10913423" y="4617680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440426" y="5185716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10913423" y="5185716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6440426" y="5753752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itle</a:t>
            </a:r>
            <a:endParaRPr lang="pt-PT" dirty="0"/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10913423" y="5753752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6440426" y="4964305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6440426" y="5514820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6440426" y="608285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5510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91238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24329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endParaRPr lang="pt-PT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414089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 err="1"/>
              <a:t>Chapter</a:t>
            </a:r>
            <a:r>
              <a:rPr lang="pt-PT" dirty="0"/>
              <a:t> </a:t>
            </a:r>
            <a:r>
              <a:rPr lang="pt-PT" dirty="0" err="1"/>
              <a:t>name</a:t>
            </a:r>
            <a:r>
              <a:rPr lang="pt-PT" dirty="0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dirty="0"/>
              <a:t>A </a:t>
            </a:r>
            <a:r>
              <a:rPr lang="pt-PT" dirty="0" err="1"/>
              <a:t>brief</a:t>
            </a:r>
            <a:r>
              <a:rPr lang="pt-PT" dirty="0"/>
              <a:t> </a:t>
            </a:r>
            <a:r>
              <a:rPr lang="pt-PT" dirty="0" err="1"/>
              <a:t>description</a:t>
            </a:r>
            <a:endParaRPr lang="pt-PT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4774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dirty="0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dirty="0" err="1"/>
              <a:t>Text</a:t>
            </a:r>
            <a:endParaRPr lang="pt-PT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, </a:t>
            </a:r>
            <a:r>
              <a:rPr lang="pt-PT" dirty="0" err="1"/>
              <a:t>consectetur</a:t>
            </a:r>
            <a:r>
              <a:rPr lang="pt-PT" dirty="0"/>
              <a:t> </a:t>
            </a:r>
            <a:r>
              <a:rPr lang="pt-PT" dirty="0" err="1"/>
              <a:t>adipiscing</a:t>
            </a:r>
            <a:r>
              <a:rPr lang="pt-PT" dirty="0"/>
              <a:t> </a:t>
            </a:r>
            <a:r>
              <a:rPr lang="pt-PT" dirty="0" err="1"/>
              <a:t>elit</a:t>
            </a:r>
            <a:r>
              <a:rPr lang="pt-PT" dirty="0"/>
              <a:t>, </a:t>
            </a:r>
            <a:r>
              <a:rPr lang="pt-PT" dirty="0" err="1"/>
              <a:t>sed</a:t>
            </a:r>
            <a:r>
              <a:rPr lang="pt-PT" dirty="0"/>
              <a:t> do </a:t>
            </a:r>
            <a:r>
              <a:rPr lang="pt-PT" dirty="0" err="1"/>
              <a:t>eiusmod</a:t>
            </a:r>
            <a:r>
              <a:rPr lang="pt-PT" dirty="0"/>
              <a:t> </a:t>
            </a:r>
            <a:r>
              <a:rPr lang="pt-PT" dirty="0" err="1"/>
              <a:t>tempor</a:t>
            </a:r>
            <a:r>
              <a:rPr lang="pt-PT" dirty="0"/>
              <a:t> </a:t>
            </a:r>
            <a:r>
              <a:rPr lang="pt-PT" dirty="0" err="1"/>
              <a:t>incididunt</a:t>
            </a:r>
            <a:r>
              <a:rPr lang="pt-PT" dirty="0"/>
              <a:t> ut labore </a:t>
            </a:r>
            <a:r>
              <a:rPr lang="pt-PT" dirty="0" err="1"/>
              <a:t>et</a:t>
            </a:r>
            <a:r>
              <a:rPr lang="pt-PT" dirty="0"/>
              <a:t> </a:t>
            </a:r>
            <a:r>
              <a:rPr lang="pt-PT" dirty="0" err="1"/>
              <a:t>dolore</a:t>
            </a:r>
            <a:r>
              <a:rPr lang="pt-PT" dirty="0"/>
              <a:t> magna </a:t>
            </a:r>
            <a:r>
              <a:rPr lang="pt-PT" dirty="0" err="1"/>
              <a:t>aliqua</a:t>
            </a:r>
            <a:r>
              <a:rPr lang="pt-PT" dirty="0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dirty="0" err="1"/>
              <a:t>Subtitle</a:t>
            </a:r>
            <a:endParaRPr lang="pt-PT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pt-PT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874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30.xml"/><Relationship Id="rId55" Type="http://schemas.openxmlformats.org/officeDocument/2006/relationships/slideLayout" Target="../slideLayouts/slideLayout135.xml"/><Relationship Id="rId6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21.xml"/><Relationship Id="rId54" Type="http://schemas.openxmlformats.org/officeDocument/2006/relationships/slideLayout" Target="../slideLayouts/slideLayout134.xml"/><Relationship Id="rId6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3" Type="http://schemas.openxmlformats.org/officeDocument/2006/relationships/slideLayout" Target="../slideLayouts/slideLayout133.xml"/><Relationship Id="rId58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slideLayout" Target="../slideLayouts/slideLayout129.xml"/><Relationship Id="rId57" Type="http://schemas.openxmlformats.org/officeDocument/2006/relationships/slideLayout" Target="../slideLayouts/slideLayout137.xml"/><Relationship Id="rId61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52" Type="http://schemas.openxmlformats.org/officeDocument/2006/relationships/slideLayout" Target="../slideLayouts/slideLayout132.xml"/><Relationship Id="rId6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slideLayout" Target="../slideLayouts/slideLayout128.xml"/><Relationship Id="rId56" Type="http://schemas.openxmlformats.org/officeDocument/2006/relationships/slideLayout" Target="../slideLayouts/slideLayout136.xml"/><Relationship Id="rId64" Type="http://schemas.openxmlformats.org/officeDocument/2006/relationships/theme" Target="../theme/theme3.xml"/><Relationship Id="rId8" Type="http://schemas.openxmlformats.org/officeDocument/2006/relationships/slideLayout" Target="../slideLayouts/slideLayout88.xml"/><Relationship Id="rId51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59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936495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672" r:id="rId4"/>
    <p:sldLayoutId id="2147483704" r:id="rId5"/>
    <p:sldLayoutId id="2147483673" r:id="rId6"/>
    <p:sldLayoutId id="2147483674" r:id="rId7"/>
    <p:sldLayoutId id="2147483676" r:id="rId8"/>
    <p:sldLayoutId id="2147483705" r:id="rId9"/>
    <p:sldLayoutId id="2147483677" r:id="rId10"/>
    <p:sldLayoutId id="2147483685" r:id="rId11"/>
    <p:sldLayoutId id="2147483680" r:id="rId12"/>
    <p:sldLayoutId id="2147483678" r:id="rId13"/>
    <p:sldLayoutId id="2147483681" r:id="rId14"/>
    <p:sldLayoutId id="2147483667" r:id="rId15"/>
    <p:sldLayoutId id="2147483682" r:id="rId16"/>
    <p:sldLayoutId id="2147483729" r:id="rId17"/>
    <p:sldLayoutId id="2147483683" r:id="rId18"/>
    <p:sldLayoutId id="2147483684" r:id="rId19"/>
    <p:sldLayoutId id="2147483726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734" r:id="rId27"/>
    <p:sldLayoutId id="2147483692" r:id="rId28"/>
    <p:sldLayoutId id="2147483733" r:id="rId29"/>
    <p:sldLayoutId id="2147483693" r:id="rId30"/>
    <p:sldLayoutId id="2147483694" r:id="rId31"/>
    <p:sldLayoutId id="2147483695" r:id="rId32"/>
    <p:sldLayoutId id="2147483696" r:id="rId33"/>
    <p:sldLayoutId id="2147483727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32" r:id="rId40"/>
    <p:sldLayoutId id="2147483735" r:id="rId41"/>
    <p:sldLayoutId id="2147483702" r:id="rId42"/>
    <p:sldLayoutId id="2147483703" r:id="rId43"/>
    <p:sldLayoutId id="2147483706" r:id="rId44"/>
    <p:sldLayoutId id="2147483707" r:id="rId45"/>
    <p:sldLayoutId id="2147483708" r:id="rId46"/>
    <p:sldLayoutId id="2147483709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20" r:id="rId56"/>
    <p:sldLayoutId id="2147483719" r:id="rId57"/>
    <p:sldLayoutId id="2147483721" r:id="rId58"/>
    <p:sldLayoutId id="2147483725" r:id="rId59"/>
    <p:sldLayoutId id="2147484054" r:id="rId60"/>
    <p:sldLayoutId id="2147484056" r:id="rId61"/>
    <p:sldLayoutId id="2147484057" r:id="rId62"/>
    <p:sldLayoutId id="2147484058" r:id="rId63"/>
    <p:sldLayoutId id="2147484059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2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orient="horz" pos="663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pos="4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09608" y="6308728"/>
            <a:ext cx="1454151" cy="288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67" b="0">
                <a:solidFill>
                  <a:srgbClr val="646567"/>
                </a:solidFill>
                <a:ea typeface="Verdana" charset="0"/>
                <a:cs typeface="Verdana" charset="0"/>
              </a:defRPr>
            </a:lvl1pPr>
          </a:lstStyle>
          <a:p>
            <a:fld id="{EE213378-14FA-5840-B632-705AD6F4D6B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0451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646567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646567"/>
          </a:solidFill>
          <a:latin typeface="Verdana" charset="0"/>
        </a:defRPr>
      </a:lvl5pPr>
      <a:lvl6pPr marL="1087981" algn="l" rtl="0" fontAlgn="base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6pPr>
      <a:lvl7pPr marL="1697588" algn="l" rtl="0" fontAlgn="base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7pPr>
      <a:lvl8pPr marL="2307196" algn="l" rtl="0" fontAlgn="base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8pPr>
      <a:lvl9pPr marL="2916803" algn="l" rtl="0" fontAlgn="base">
        <a:spcBef>
          <a:spcPct val="0"/>
        </a:spcBef>
        <a:spcAft>
          <a:spcPct val="0"/>
        </a:spcAft>
        <a:defRPr sz="4000" b="1">
          <a:solidFill>
            <a:srgbClr val="0F5494"/>
          </a:solidFill>
          <a:latin typeface="Verdana" charset="0"/>
        </a:defRPr>
      </a:lvl9pPr>
    </p:titleStyle>
    <p:bodyStyle>
      <a:lvl1pPr algn="l" rtl="0" eaLnBrk="0" fontAlgn="base" hangingPunct="0">
        <a:spcBef>
          <a:spcPct val="0"/>
        </a:spcBef>
        <a:spcAft>
          <a:spcPts val="800"/>
        </a:spcAft>
        <a:buClr>
          <a:schemeClr val="bg1"/>
        </a:buClr>
        <a:buChar char="•"/>
        <a:defRPr sz="1867" kern="1200">
          <a:solidFill>
            <a:srgbClr val="646567"/>
          </a:solidFill>
          <a:latin typeface="+mn-lt"/>
          <a:ea typeface="+mn-ea"/>
          <a:cs typeface="+mn-cs"/>
        </a:defRPr>
      </a:lvl1pPr>
      <a:lvl2pPr marL="478373" indent="-239187" algn="l" rtl="0" eaLnBrk="0" fontAlgn="base" hangingPunct="0">
        <a:spcBef>
          <a:spcPct val="0"/>
        </a:spcBef>
        <a:spcAft>
          <a:spcPts val="800"/>
        </a:spcAft>
        <a:buClr>
          <a:srgbClr val="009FBA"/>
        </a:buClr>
        <a:buChar char="•"/>
        <a:defRPr sz="1600" kern="1200">
          <a:solidFill>
            <a:srgbClr val="646567"/>
          </a:solidFill>
          <a:latin typeface="+mn-lt"/>
          <a:ea typeface="+mn-ea"/>
          <a:cs typeface="+mn-cs"/>
        </a:defRPr>
      </a:lvl2pPr>
      <a:lvl3pPr marL="958863" indent="-239187" algn="l" rtl="0" eaLnBrk="0" fontAlgn="base" hangingPunct="0">
        <a:spcBef>
          <a:spcPct val="0"/>
        </a:spcBef>
        <a:spcAft>
          <a:spcPts val="800"/>
        </a:spcAft>
        <a:buFont typeface="Arial" charset="0"/>
        <a:buChar char="•"/>
        <a:defRPr sz="1334" kern="1200">
          <a:solidFill>
            <a:srgbClr val="646567"/>
          </a:solidFill>
          <a:latin typeface="+mn-lt"/>
          <a:ea typeface="+mn-ea"/>
          <a:cs typeface="+mn-cs"/>
        </a:defRPr>
      </a:lvl3pPr>
      <a:lvl4pPr marL="2133627" indent="-304804" algn="l" rtl="0" eaLnBrk="0" fontAlgn="base" hangingPunct="0">
        <a:spcBef>
          <a:spcPct val="20000"/>
        </a:spcBef>
        <a:spcAft>
          <a:spcPct val="0"/>
        </a:spcAft>
        <a:buChar char="–"/>
        <a:defRPr sz="2667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743235" indent="-304804" algn="l" rtl="0" eaLnBrk="0" fontAlgn="base" hangingPunct="0">
        <a:spcBef>
          <a:spcPct val="20000"/>
        </a:spcBef>
        <a:spcAft>
          <a:spcPct val="0"/>
        </a:spcAft>
        <a:buChar char="»"/>
        <a:defRPr sz="2667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3352842" indent="-304804" algn="l" defTabSz="121921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50" indent="-304804" algn="l" defTabSz="121921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57" indent="-304804" algn="l" defTabSz="121921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665" indent="-304804" algn="l" defTabSz="121921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5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3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1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38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46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4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1" algn="l" defTabSz="121921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67992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  <p:sldLayoutId id="2147484080" r:id="rId20"/>
    <p:sldLayoutId id="2147484081" r:id="rId21"/>
    <p:sldLayoutId id="2147484082" r:id="rId22"/>
    <p:sldLayoutId id="2147484083" r:id="rId23"/>
    <p:sldLayoutId id="2147484084" r:id="rId24"/>
    <p:sldLayoutId id="2147484085" r:id="rId25"/>
    <p:sldLayoutId id="2147484086" r:id="rId26"/>
    <p:sldLayoutId id="2147484087" r:id="rId27"/>
    <p:sldLayoutId id="2147484088" r:id="rId28"/>
    <p:sldLayoutId id="2147484089" r:id="rId29"/>
    <p:sldLayoutId id="2147484090" r:id="rId30"/>
    <p:sldLayoutId id="2147484091" r:id="rId31"/>
    <p:sldLayoutId id="2147484092" r:id="rId32"/>
    <p:sldLayoutId id="2147484093" r:id="rId33"/>
    <p:sldLayoutId id="2147484094" r:id="rId34"/>
    <p:sldLayoutId id="2147484095" r:id="rId35"/>
    <p:sldLayoutId id="2147484096" r:id="rId36"/>
    <p:sldLayoutId id="2147484097" r:id="rId37"/>
    <p:sldLayoutId id="2147484098" r:id="rId38"/>
    <p:sldLayoutId id="2147484099" r:id="rId39"/>
    <p:sldLayoutId id="2147484100" r:id="rId40"/>
    <p:sldLayoutId id="2147484101" r:id="rId41"/>
    <p:sldLayoutId id="2147484102" r:id="rId42"/>
    <p:sldLayoutId id="2147484103" r:id="rId43"/>
    <p:sldLayoutId id="2147484104" r:id="rId44"/>
    <p:sldLayoutId id="2147484105" r:id="rId45"/>
    <p:sldLayoutId id="2147484106" r:id="rId46"/>
    <p:sldLayoutId id="2147484107" r:id="rId47"/>
    <p:sldLayoutId id="2147484108" r:id="rId48"/>
    <p:sldLayoutId id="2147484109" r:id="rId49"/>
    <p:sldLayoutId id="2147484110" r:id="rId50"/>
    <p:sldLayoutId id="2147484111" r:id="rId51"/>
    <p:sldLayoutId id="2147484112" r:id="rId52"/>
    <p:sldLayoutId id="2147484113" r:id="rId53"/>
    <p:sldLayoutId id="2147484114" r:id="rId54"/>
    <p:sldLayoutId id="2147484115" r:id="rId55"/>
    <p:sldLayoutId id="2147484116" r:id="rId56"/>
    <p:sldLayoutId id="2147484117" r:id="rId57"/>
    <p:sldLayoutId id="2147484118" r:id="rId58"/>
    <p:sldLayoutId id="2147484119" r:id="rId59"/>
    <p:sldLayoutId id="2147484120" r:id="rId60"/>
    <p:sldLayoutId id="2147484121" r:id="rId61"/>
    <p:sldLayoutId id="2147484122" r:id="rId62"/>
    <p:sldLayoutId id="2147484123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3C8C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hyperlink" Target="https://www.youtube.com/watch?v=XXLIBoB0XtQ&amp;t=344s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0.tif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9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hyperlink" Target="http://www.menti.com/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9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9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9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9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9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9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mailto:CEF-BUILDING-BLOCKS@ec.europa.eu" TargetMode="Externa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hyperlink" Target="https://www.youtube.com/watch?v=ADLJzOcu5tU&amp;t=229s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0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119188" y="3624727"/>
            <a:ext cx="7391766" cy="602194"/>
          </a:xfrm>
        </p:spPr>
        <p:txBody>
          <a:bodyPr anchor="t"/>
          <a:lstStyle/>
          <a:p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inar | OOP Work Packages - Roadmap 2020-21</a:t>
            </a:r>
          </a:p>
          <a:p>
            <a:endParaRPr lang="nl-BE" sz="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sz="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ril 3 </a:t>
            </a:r>
          </a:p>
          <a:p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:00-12:00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 bwMode="auto">
          <a:xfrm>
            <a:off x="1056717" y="5467937"/>
            <a:ext cx="2057646" cy="134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5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CNECT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Communications Networks, Content and Technolog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140968" y="5102978"/>
            <a:ext cx="4670541" cy="235449"/>
          </a:xfrm>
        </p:spPr>
        <p:txBody>
          <a:bodyPr/>
          <a:lstStyle/>
          <a:p>
            <a:r>
              <a:rPr lang="nl-BE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F Preparatory Action on OOP</a:t>
            </a:r>
            <a:endParaRPr lang="en-GB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 bwMode="auto">
          <a:xfrm>
            <a:off x="2873873" y="5467937"/>
            <a:ext cx="2057646" cy="134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5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GROW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ternal Market, Industry, Entrepreneurship and SMEs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5062092" y="5466211"/>
            <a:ext cx="2057646" cy="134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5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defTabSz="2438430"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1000" b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formatics</a:t>
            </a:r>
          </a:p>
        </p:txBody>
      </p:sp>
    </p:spTree>
    <p:extLst>
      <p:ext uri="{BB962C8B-B14F-4D97-AF65-F5344CB8AC3E}">
        <p14:creationId xmlns:p14="http://schemas.microsoft.com/office/powerpoint/2010/main" val="59386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organisation of work</a:t>
            </a:r>
            <a:endParaRPr lang="en-GB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D46966-B82A-9843-8A14-3628EADCE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39788" y="1772004"/>
            <a:ext cx="10514012" cy="3759831"/>
          </a:xfrm>
        </p:spPr>
        <p:txBody>
          <a:bodyPr>
            <a:normAutofit/>
          </a:bodyPr>
          <a:lstStyle/>
          <a:p>
            <a:r>
              <a:rPr lang="nl-B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deo:</a:t>
            </a:r>
          </a:p>
          <a:p>
            <a:r>
              <a:rPr lang="en-GB" dirty="0">
                <a:hlinkClick r:id="rId7"/>
              </a:rPr>
              <a:t>https://www.youtube.com/watch?v=XXLIBoB0XtQ&amp;t=344s</a:t>
            </a:r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7D1482-A965-3F4B-A6A1-912C55F650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10542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in in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2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F377CF-A798-1442-BE89-3EF92C2A0846}"/>
              </a:ext>
            </a:extLst>
          </p:cNvPr>
          <p:cNvSpPr txBox="1"/>
          <p:nvPr/>
        </p:nvSpPr>
        <p:spPr>
          <a:xfrm>
            <a:off x="707453" y="2610196"/>
            <a:ext cx="48811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dirty="0" err="1">
                <a:latin typeface="EC Square Sans Pro" panose="020B0506040000020004" pitchFamily="34" charset="0"/>
              </a:rPr>
              <a:t>menti.com</a:t>
            </a:r>
            <a:endParaRPr lang="en-GB" sz="5400" dirty="0">
              <a:latin typeface="EC Square Sans Pro" panose="020B0506040000020004" pitchFamily="34" charset="0"/>
            </a:endParaRPr>
          </a:p>
          <a:p>
            <a:r>
              <a:rPr lang="en-GB" sz="5400" dirty="0">
                <a:latin typeface="EC Square Sans Pro" panose="020B0506040000020004" pitchFamily="34" charset="0"/>
              </a:rPr>
              <a:t>Code: 33 08 91</a:t>
            </a:r>
            <a:endParaRPr lang="en-BE" sz="5400" dirty="0">
              <a:latin typeface="EC Square Sans Pro" panose="020B050604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3AF25F-15BF-8846-ACEA-27BA9B339C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8698" y="1718264"/>
            <a:ext cx="3882222" cy="3882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0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24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199" y="687704"/>
            <a:ext cx="11076649" cy="3564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ganisation of work in 2020-21</a:t>
            </a:r>
          </a:p>
        </p:txBody>
      </p:sp>
      <p:sp>
        <p:nvSpPr>
          <p:cNvPr id="75" name="Rectangle 74"/>
          <p:cNvSpPr/>
          <p:nvPr/>
        </p:nvSpPr>
        <p:spPr>
          <a:xfrm>
            <a:off x="1111517" y="1499847"/>
            <a:ext cx="7693058" cy="721894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451668" y="180906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Management Team</a:t>
            </a:r>
            <a:endParaRPr kumimoji="0" lang="en-GB" sz="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128121" y="180906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ive Platform</a:t>
            </a:r>
          </a:p>
        </p:txBody>
      </p:sp>
      <p:sp>
        <p:nvSpPr>
          <p:cNvPr id="87" name="Rectangle 86"/>
          <p:cNvSpPr/>
          <p:nvPr/>
        </p:nvSpPr>
        <p:spPr>
          <a:xfrm>
            <a:off x="1111517" y="2280403"/>
            <a:ext cx="7693058" cy="4377948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51668" y="2663533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451666" y="2923018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</a:p>
        </p:txBody>
      </p:sp>
      <p:sp>
        <p:nvSpPr>
          <p:cNvPr id="90" name="Rectangle 89"/>
          <p:cNvSpPr/>
          <p:nvPr/>
        </p:nvSpPr>
        <p:spPr>
          <a:xfrm>
            <a:off x="5128121" y="2663533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Centric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128121" y="2925830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Journey Mapping</a:t>
            </a:r>
          </a:p>
        </p:txBody>
      </p:sp>
      <p:sp>
        <p:nvSpPr>
          <p:cNvPr id="92" name="Rectangle 91"/>
          <p:cNvSpPr/>
          <p:nvPr/>
        </p:nvSpPr>
        <p:spPr>
          <a:xfrm>
            <a:off x="1451667" y="3300527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iance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451667" y="3609702"/>
            <a:ext cx="1577758" cy="1860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Arrangements</a:t>
            </a:r>
          </a:p>
        </p:txBody>
      </p:sp>
      <p:sp>
        <p:nvSpPr>
          <p:cNvPr id="94" name="Rectangle 93"/>
          <p:cNvSpPr/>
          <p:nvPr/>
        </p:nvSpPr>
        <p:spPr>
          <a:xfrm>
            <a:off x="3321658" y="3609701"/>
            <a:ext cx="1503772" cy="18608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Security</a:t>
            </a:r>
          </a:p>
        </p:txBody>
      </p:sp>
      <p:sp>
        <p:nvSpPr>
          <p:cNvPr id="95" name="Rectangle 94"/>
          <p:cNvSpPr/>
          <p:nvPr/>
        </p:nvSpPr>
        <p:spPr>
          <a:xfrm>
            <a:off x="5191649" y="3609701"/>
            <a:ext cx="1503772" cy="18608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Legislation</a:t>
            </a:r>
          </a:p>
        </p:txBody>
      </p:sp>
      <p:sp>
        <p:nvSpPr>
          <p:cNvPr id="96" name="Rectangle 95"/>
          <p:cNvSpPr/>
          <p:nvPr/>
        </p:nvSpPr>
        <p:spPr>
          <a:xfrm>
            <a:off x="7008570" y="3599819"/>
            <a:ext cx="1503772" cy="1940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Legislation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376255" y="2597294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5047992" y="2597294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376256" y="3249635"/>
            <a:ext cx="7216216" cy="63724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1451668" y="4005921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mantics, Formats &amp; Qual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451667" y="444316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hodology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1376256" y="4005671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3480398" y="4005921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boarding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480397" y="444316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llout Approach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3404980" y="4005671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3480397" y="4689909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3480397" y="493665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loyment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5589249" y="3996494"/>
            <a:ext cx="2923094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5593964" y="4443164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GB" sz="5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Identification, Authentication and Record Matching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509122" y="3996243"/>
            <a:ext cx="3101424" cy="128501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022456" y="4445572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5593964" y="4692090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chiving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7029919" y="4683885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licit Request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5589249" y="4931926"/>
            <a:ext cx="291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view of Evidence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1451666" y="5359428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Design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1451666" y="5630179"/>
            <a:ext cx="7046790" cy="1610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P Technical System Architecture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1376255" y="5308536"/>
            <a:ext cx="7216216" cy="12555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1463063" y="6079961"/>
            <a:ext cx="1688215" cy="4102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3572289" y="6079961"/>
            <a:ext cx="1688215" cy="41022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s to Other EU Systems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5645471" y="6047815"/>
            <a:ext cx="284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erion &amp; Evidence Type Rule Base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5645471" y="6273298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istry of Authorities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7130456" y="6275856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rvice Directory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1451666" y="5864672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3584700" y="5857351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Systems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5644438" y="5846133"/>
            <a:ext cx="2844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ntral Systems</a:t>
            </a: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839788" y="1036850"/>
            <a:ext cx="10514012" cy="258055"/>
          </a:xfrm>
        </p:spPr>
        <p:txBody>
          <a:bodyPr>
            <a:normAutofit/>
          </a:bodyPr>
          <a:lstStyle/>
          <a:p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 was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llowing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SDG Coordination Group meeting on February, 12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59" name="Rectangle 58"/>
          <p:cNvSpPr/>
          <p:nvPr/>
        </p:nvSpPr>
        <p:spPr>
          <a:xfrm>
            <a:off x="9077026" y="3246235"/>
            <a:ext cx="720000" cy="204771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789727" y="324623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</a:t>
            </a:r>
          </a:p>
          <a:p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9077026" y="3690867"/>
            <a:ext cx="720000" cy="20477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9789727" y="3690867"/>
            <a:ext cx="2295436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&amp; Member State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9077026" y="3965813"/>
            <a:ext cx="720000" cy="204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9789727" y="3965813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only</a:t>
            </a:r>
          </a:p>
          <a:p>
            <a:pPr algn="ctr"/>
            <a:endParaRPr lang="en-US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077026" y="4240759"/>
            <a:ext cx="720000" cy="2047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789727" y="4240759"/>
            <a:ext cx="2295436" cy="274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BE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Member State only</a:t>
            </a: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9077025" y="3566186"/>
            <a:ext cx="27000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70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81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1111517" y="1517097"/>
            <a:ext cx="7693058" cy="721894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:</a:t>
            </a:r>
          </a:p>
          <a:p>
            <a:pPr algn="ctr"/>
            <a:endParaRPr lang="nl-BE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2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463063" y="6050076"/>
            <a:ext cx="1688215" cy="4102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1451666" y="5834787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ning: the first wave of Work Package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839788" y="1036850"/>
            <a:ext cx="10514012" cy="258055"/>
          </a:xfrm>
        </p:spPr>
        <p:txBody>
          <a:bodyPr>
            <a:normAutofit/>
          </a:bodyPr>
          <a:lstStyle/>
          <a:p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first wave of Work Packages will kick-off in Phase 1 (April – end of September, 2020)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7" name="Rectangle 26"/>
          <p:cNvSpPr/>
          <p:nvPr/>
        </p:nvSpPr>
        <p:spPr>
          <a:xfrm>
            <a:off x="1451668" y="2633648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451666" y="2893133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451667" y="3270642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iance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451667" y="3579817"/>
            <a:ext cx="1577758" cy="1860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Arrangement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321658" y="3579816"/>
            <a:ext cx="1503772" cy="18608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Security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128121" y="3579817"/>
            <a:ext cx="1567300" cy="17780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Legisl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008570" y="3569934"/>
            <a:ext cx="1503772" cy="1940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Legislation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077026" y="3246235"/>
            <a:ext cx="720000" cy="204771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9789727" y="324623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</a:t>
            </a:r>
          </a:p>
          <a:p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9077026" y="3690867"/>
            <a:ext cx="720000" cy="20477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9789727" y="3690867"/>
            <a:ext cx="2295436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&amp; Member State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9077026" y="3965813"/>
            <a:ext cx="720000" cy="204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789727" y="3965813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only</a:t>
            </a:r>
          </a:p>
          <a:p>
            <a:pPr algn="ctr"/>
            <a:endParaRPr lang="en-US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376255" y="2567409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047992" y="2567409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349938" y="3210166"/>
            <a:ext cx="7216216" cy="63724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376256" y="3975786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480398" y="3976036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boarding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480397" y="4413279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llout Approach</a:t>
            </a:r>
          </a:p>
        </p:txBody>
      </p:sp>
      <p:sp>
        <p:nvSpPr>
          <p:cNvPr id="62" name="Rectangle 61"/>
          <p:cNvSpPr/>
          <p:nvPr/>
        </p:nvSpPr>
        <p:spPr>
          <a:xfrm>
            <a:off x="3404980" y="3975786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480397" y="466002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480397" y="4906769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loyment</a:t>
            </a:r>
          </a:p>
        </p:txBody>
      </p:sp>
      <p:sp>
        <p:nvSpPr>
          <p:cNvPr id="67" name="Rectangle 66"/>
          <p:cNvSpPr/>
          <p:nvPr/>
        </p:nvSpPr>
        <p:spPr>
          <a:xfrm>
            <a:off x="5509122" y="3966358"/>
            <a:ext cx="3101424" cy="128501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5593964" y="4662205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chiving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029919" y="4654000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licit Request</a:t>
            </a:r>
          </a:p>
        </p:txBody>
      </p:sp>
      <p:sp>
        <p:nvSpPr>
          <p:cNvPr id="71" name="Rectangle 70"/>
          <p:cNvSpPr/>
          <p:nvPr/>
        </p:nvSpPr>
        <p:spPr>
          <a:xfrm>
            <a:off x="5589249" y="4902041"/>
            <a:ext cx="291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view of Evidence</a:t>
            </a:r>
          </a:p>
        </p:txBody>
      </p:sp>
      <p:sp>
        <p:nvSpPr>
          <p:cNvPr id="77" name="Rectangle 76"/>
          <p:cNvSpPr/>
          <p:nvPr/>
        </p:nvSpPr>
        <p:spPr>
          <a:xfrm>
            <a:off x="1376255" y="5278651"/>
            <a:ext cx="7216216" cy="12555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077026" y="4240759"/>
            <a:ext cx="720000" cy="2047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9789727" y="4240759"/>
            <a:ext cx="2295436" cy="274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BE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Member State only</a:t>
            </a: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51668" y="182631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Management Team</a:t>
            </a:r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5128121" y="182631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ive Platform</a:t>
            </a:r>
          </a:p>
        </p:txBody>
      </p:sp>
      <p:cxnSp>
        <p:nvCxnSpPr>
          <p:cNvPr id="93" name="Straight Connector 92"/>
          <p:cNvCxnSpPr/>
          <p:nvPr/>
        </p:nvCxnSpPr>
        <p:spPr>
          <a:xfrm>
            <a:off x="9077025" y="3566186"/>
            <a:ext cx="27000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/>
        </p:nvSpPr>
        <p:spPr>
          <a:xfrm>
            <a:off x="979558" y="1382405"/>
            <a:ext cx="7981561" cy="539795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128121" y="2633648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Centricity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128121" y="2895945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Journey Mapping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451668" y="3976036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mantics, Formats &amp; Quality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51667" y="4413279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hodology</a:t>
            </a:r>
          </a:p>
        </p:txBody>
      </p:sp>
      <p:sp>
        <p:nvSpPr>
          <p:cNvPr id="65" name="Rectangle 64"/>
          <p:cNvSpPr/>
          <p:nvPr/>
        </p:nvSpPr>
        <p:spPr>
          <a:xfrm>
            <a:off x="5589249" y="3966609"/>
            <a:ext cx="2923094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y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5593964" y="4413279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Identification, Authentication and Record Matching</a:t>
            </a:r>
          </a:p>
        </p:txBody>
      </p:sp>
      <p:sp>
        <p:nvSpPr>
          <p:cNvPr id="68" name="Rectangle 67"/>
          <p:cNvSpPr/>
          <p:nvPr/>
        </p:nvSpPr>
        <p:spPr>
          <a:xfrm>
            <a:off x="7022456" y="4415687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451666" y="5329543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Design</a:t>
            </a:r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451666" y="5600294"/>
            <a:ext cx="7046790" cy="1610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P Technical System Architecture</a:t>
            </a:r>
          </a:p>
        </p:txBody>
      </p:sp>
      <p:sp>
        <p:nvSpPr>
          <p:cNvPr id="79" name="Rectangle 78"/>
          <p:cNvSpPr/>
          <p:nvPr/>
        </p:nvSpPr>
        <p:spPr>
          <a:xfrm>
            <a:off x="3572289" y="6050076"/>
            <a:ext cx="1688215" cy="41022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s to Other EU System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5645471" y="6017930"/>
            <a:ext cx="284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erion &amp; Evidence Type Rule Base</a:t>
            </a:r>
          </a:p>
        </p:txBody>
      </p:sp>
      <p:sp>
        <p:nvSpPr>
          <p:cNvPr id="81" name="Rectangle 80"/>
          <p:cNvSpPr/>
          <p:nvPr/>
        </p:nvSpPr>
        <p:spPr>
          <a:xfrm>
            <a:off x="5645471" y="6243413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istry of Authoritie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7130456" y="6245971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rvice Directory</a:t>
            </a:r>
          </a:p>
        </p:txBody>
      </p:sp>
      <p:sp>
        <p:nvSpPr>
          <p:cNvPr id="85" name="Rectangle 84"/>
          <p:cNvSpPr/>
          <p:nvPr/>
        </p:nvSpPr>
        <p:spPr>
          <a:xfrm>
            <a:off x="3584700" y="5827466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System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5644438" y="5816248"/>
            <a:ext cx="2844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ntral System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111517" y="2295747"/>
            <a:ext cx="7693058" cy="4417556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077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4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199" y="687704"/>
            <a:ext cx="11076649" cy="3564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ning: The second wave of Work Packages</a:t>
            </a:r>
          </a:p>
        </p:txBody>
      </p:sp>
      <p:sp>
        <p:nvSpPr>
          <p:cNvPr id="75" name="Rectangle 74"/>
          <p:cNvSpPr/>
          <p:nvPr/>
        </p:nvSpPr>
        <p:spPr>
          <a:xfrm>
            <a:off x="1111517" y="1499847"/>
            <a:ext cx="7693058" cy="721894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451668" y="180906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Management Team</a:t>
            </a:r>
            <a:endParaRPr kumimoji="0" lang="en-GB" sz="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128121" y="1809062"/>
            <a:ext cx="3384222" cy="260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ive Platform</a:t>
            </a:r>
          </a:p>
        </p:txBody>
      </p:sp>
      <p:sp>
        <p:nvSpPr>
          <p:cNvPr id="90" name="Rectangle 89"/>
          <p:cNvSpPr/>
          <p:nvPr/>
        </p:nvSpPr>
        <p:spPr>
          <a:xfrm>
            <a:off x="5128121" y="2663533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Centric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128121" y="2925830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Journey Mapping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376255" y="2597294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5047992" y="2597294"/>
            <a:ext cx="3544479" cy="590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376256" y="3249635"/>
            <a:ext cx="7216216" cy="63724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1451668" y="4005921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mantics, Formats &amp; Qual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451667" y="444316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hodology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1376256" y="4005671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3404980" y="4005671"/>
            <a:ext cx="2045614" cy="12781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5589249" y="3996494"/>
            <a:ext cx="2923094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y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5593964" y="4443164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Authentication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509122" y="3996243"/>
            <a:ext cx="3101424" cy="128501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022456" y="4445572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1451666" y="5359428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Design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1451666" y="5630179"/>
            <a:ext cx="7046790" cy="1610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P Technical System Architecture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1376255" y="5308536"/>
            <a:ext cx="7216216" cy="12555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3572289" y="6079961"/>
            <a:ext cx="1688215" cy="41022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s to Other EU Systems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5645471" y="6047815"/>
            <a:ext cx="284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erion &amp; Evidence Type Rule Base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5645471" y="6273298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istry of Authorities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7130456" y="6275856"/>
            <a:ext cx="1368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rvice Directory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3584700" y="5857351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Systems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5644438" y="5846133"/>
            <a:ext cx="2844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ntral Systems</a:t>
            </a: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839788" y="1036850"/>
            <a:ext cx="10514012" cy="258055"/>
          </a:xfrm>
        </p:spPr>
        <p:txBody>
          <a:bodyPr>
            <a:normAutofit/>
          </a:bodyPr>
          <a:lstStyle/>
          <a:p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second wave of Work Packages will kick-off in Phase 2 (as of October, 2020)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26212" y="1393282"/>
            <a:ext cx="8011778" cy="533532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51668" y="2663533"/>
            <a:ext cx="3384222" cy="233534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451666" y="2923018"/>
            <a:ext cx="3384000" cy="18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ance</a:t>
            </a:r>
          </a:p>
        </p:txBody>
      </p:sp>
      <p:sp>
        <p:nvSpPr>
          <p:cNvPr id="92" name="Rectangle 91"/>
          <p:cNvSpPr/>
          <p:nvPr/>
        </p:nvSpPr>
        <p:spPr>
          <a:xfrm>
            <a:off x="1451667" y="3300527"/>
            <a:ext cx="7060675" cy="24441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iance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451667" y="3609702"/>
            <a:ext cx="1577758" cy="1860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Arrangements</a:t>
            </a:r>
          </a:p>
        </p:txBody>
      </p:sp>
      <p:sp>
        <p:nvSpPr>
          <p:cNvPr id="94" name="Rectangle 93"/>
          <p:cNvSpPr/>
          <p:nvPr/>
        </p:nvSpPr>
        <p:spPr>
          <a:xfrm>
            <a:off x="3321658" y="3609701"/>
            <a:ext cx="1503772" cy="18608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Security</a:t>
            </a:r>
          </a:p>
        </p:txBody>
      </p:sp>
      <p:sp>
        <p:nvSpPr>
          <p:cNvPr id="95" name="Rectangle 94"/>
          <p:cNvSpPr/>
          <p:nvPr/>
        </p:nvSpPr>
        <p:spPr>
          <a:xfrm>
            <a:off x="5191649" y="3609701"/>
            <a:ext cx="1503772" cy="18608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EU Legislation</a:t>
            </a:r>
          </a:p>
        </p:txBody>
      </p:sp>
      <p:sp>
        <p:nvSpPr>
          <p:cNvPr id="96" name="Rectangle 95"/>
          <p:cNvSpPr/>
          <p:nvPr/>
        </p:nvSpPr>
        <p:spPr>
          <a:xfrm>
            <a:off x="7008570" y="3599819"/>
            <a:ext cx="1503772" cy="1940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Legislation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3480398" y="4005921"/>
            <a:ext cx="1872000" cy="407860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boarding</a:t>
            </a: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480397" y="444316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llout Approach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3480397" y="4689909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3480397" y="4936654"/>
            <a:ext cx="1872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loyment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5593964" y="4692090"/>
            <a:ext cx="1368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chiving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7029919" y="4683885"/>
            <a:ext cx="147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licit Request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5589249" y="4931926"/>
            <a:ext cx="2916000" cy="19786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view of Evidence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1463063" y="6079961"/>
            <a:ext cx="1688215" cy="4102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1451666" y="5864672"/>
            <a:ext cx="1692000" cy="197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ystem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87" name="Rectangle 86"/>
          <p:cNvSpPr/>
          <p:nvPr/>
        </p:nvSpPr>
        <p:spPr>
          <a:xfrm>
            <a:off x="1111517" y="2280403"/>
            <a:ext cx="7693058" cy="4377948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077026" y="3246235"/>
            <a:ext cx="720000" cy="204771"/>
          </a:xfrm>
          <a:prstGeom prst="rect">
            <a:avLst/>
          </a:prstGeom>
          <a:solidFill>
            <a:srgbClr val="003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b="1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9789727" y="324623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s</a:t>
            </a:r>
          </a:p>
          <a:p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9077026" y="3690867"/>
            <a:ext cx="720000" cy="20477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10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9789727" y="3690867"/>
            <a:ext cx="2295436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&amp; Member State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9077026" y="3965813"/>
            <a:ext cx="720000" cy="204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789727" y="3965813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Commission only</a:t>
            </a:r>
          </a:p>
          <a:p>
            <a:pPr algn="ctr"/>
            <a:endParaRPr lang="en-US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077026" y="4240759"/>
            <a:ext cx="720000" cy="2047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8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9789727" y="4240759"/>
            <a:ext cx="2295436" cy="274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BE" sz="8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: Member State only</a:t>
            </a:r>
          </a:p>
          <a:p>
            <a:pPr algn="ctr"/>
            <a:endParaRPr lang="en-GB" sz="8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8" name="Straight Connector 67"/>
          <p:cNvCxnSpPr/>
          <p:nvPr/>
        </p:nvCxnSpPr>
        <p:spPr>
          <a:xfrm>
            <a:off x="9077025" y="3566186"/>
            <a:ext cx="27000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29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44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composition of Work Packages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1083726" y="4600817"/>
            <a:ext cx="8402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sp>
        <p:nvSpPr>
          <p:cNvPr id="225" name="Rectangle 224"/>
          <p:cNvSpPr/>
          <p:nvPr/>
        </p:nvSpPr>
        <p:spPr>
          <a:xfrm>
            <a:off x="918390" y="3141376"/>
            <a:ext cx="3598434" cy="1846057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1004440" y="3266074"/>
            <a:ext cx="3417493" cy="2823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 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45" name="Group 285"/>
          <p:cNvGrpSpPr>
            <a:grpSpLocks noChangeAspect="1"/>
          </p:cNvGrpSpPr>
          <p:nvPr/>
        </p:nvGrpSpPr>
        <p:grpSpPr bwMode="auto">
          <a:xfrm>
            <a:off x="1295287" y="4066807"/>
            <a:ext cx="417174" cy="424013"/>
            <a:chOff x="1698" y="1441"/>
            <a:chExt cx="427" cy="434"/>
          </a:xfrm>
          <a:noFill/>
        </p:grpSpPr>
        <p:sp>
          <p:nvSpPr>
            <p:cNvPr id="446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7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7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8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9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0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1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2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3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4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5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6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8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88" name="Rectangle 787"/>
          <p:cNvSpPr/>
          <p:nvPr/>
        </p:nvSpPr>
        <p:spPr>
          <a:xfrm>
            <a:off x="918389" y="2434013"/>
            <a:ext cx="3598435" cy="588169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789" name="Group 4"/>
          <p:cNvGrpSpPr>
            <a:grpSpLocks noChangeAspect="1"/>
          </p:cNvGrpSpPr>
          <p:nvPr/>
        </p:nvGrpSpPr>
        <p:grpSpPr bwMode="auto">
          <a:xfrm>
            <a:off x="1848653" y="2541849"/>
            <a:ext cx="401515" cy="401515"/>
            <a:chOff x="7114" y="467"/>
            <a:chExt cx="351" cy="351"/>
          </a:xfrm>
          <a:solidFill>
            <a:schemeClr val="bg1"/>
          </a:solidFill>
        </p:grpSpPr>
        <p:sp>
          <p:nvSpPr>
            <p:cNvPr id="790" name="Oval 5"/>
            <p:cNvSpPr>
              <a:spLocks noChangeArrowheads="1"/>
            </p:cNvSpPr>
            <p:nvPr/>
          </p:nvSpPr>
          <p:spPr bwMode="auto">
            <a:xfrm>
              <a:off x="7114" y="467"/>
              <a:ext cx="351" cy="351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1" name="Freeform 6"/>
            <p:cNvSpPr>
              <a:spLocks/>
            </p:cNvSpPr>
            <p:nvPr/>
          </p:nvSpPr>
          <p:spPr bwMode="auto">
            <a:xfrm>
              <a:off x="7238" y="601"/>
              <a:ext cx="97" cy="79"/>
            </a:xfrm>
            <a:custGeom>
              <a:avLst/>
              <a:gdLst>
                <a:gd name="T0" fmla="*/ 429 w 429"/>
                <a:gd name="T1" fmla="*/ 0 h 349"/>
                <a:gd name="T2" fmla="*/ 423 w 429"/>
                <a:gd name="T3" fmla="*/ 54 h 349"/>
                <a:gd name="T4" fmla="*/ 377 w 429"/>
                <a:gd name="T5" fmla="*/ 240 h 349"/>
                <a:gd name="T6" fmla="*/ 338 w 429"/>
                <a:gd name="T7" fmla="*/ 287 h 349"/>
                <a:gd name="T8" fmla="*/ 102 w 429"/>
                <a:gd name="T9" fmla="*/ 287 h 349"/>
                <a:gd name="T10" fmla="*/ 56 w 429"/>
                <a:gd name="T11" fmla="*/ 232 h 349"/>
                <a:gd name="T12" fmla="*/ 6 w 429"/>
                <a:gd name="T13" fmla="*/ 67 h 349"/>
                <a:gd name="T14" fmla="*/ 0 w 429"/>
                <a:gd name="T15" fmla="*/ 5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349">
                  <a:moveTo>
                    <a:pt x="429" y="0"/>
                  </a:moveTo>
                  <a:cubicBezTo>
                    <a:pt x="429" y="3"/>
                    <a:pt x="423" y="50"/>
                    <a:pt x="423" y="54"/>
                  </a:cubicBezTo>
                  <a:cubicBezTo>
                    <a:pt x="422" y="118"/>
                    <a:pt x="406" y="182"/>
                    <a:pt x="377" y="240"/>
                  </a:cubicBezTo>
                  <a:cubicBezTo>
                    <a:pt x="367" y="258"/>
                    <a:pt x="354" y="273"/>
                    <a:pt x="338" y="287"/>
                  </a:cubicBezTo>
                  <a:cubicBezTo>
                    <a:pt x="272" y="349"/>
                    <a:pt x="168" y="349"/>
                    <a:pt x="102" y="287"/>
                  </a:cubicBezTo>
                  <a:cubicBezTo>
                    <a:pt x="84" y="271"/>
                    <a:pt x="69" y="253"/>
                    <a:pt x="56" y="232"/>
                  </a:cubicBezTo>
                  <a:cubicBezTo>
                    <a:pt x="26" y="182"/>
                    <a:pt x="9" y="125"/>
                    <a:pt x="6" y="67"/>
                  </a:cubicBezTo>
                  <a:cubicBezTo>
                    <a:pt x="6" y="63"/>
                    <a:pt x="0" y="10"/>
                    <a:pt x="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2" name="Freeform 7"/>
            <p:cNvSpPr>
              <a:spLocks/>
            </p:cNvSpPr>
            <p:nvPr/>
          </p:nvSpPr>
          <p:spPr bwMode="auto">
            <a:xfrm>
              <a:off x="7332" y="601"/>
              <a:ext cx="16" cy="34"/>
            </a:xfrm>
            <a:custGeom>
              <a:avLst/>
              <a:gdLst>
                <a:gd name="T0" fmla="*/ 24 w 71"/>
                <a:gd name="T1" fmla="*/ 8 h 150"/>
                <a:gd name="T2" fmla="*/ 54 w 71"/>
                <a:gd name="T3" fmla="*/ 70 h 150"/>
                <a:gd name="T4" fmla="*/ 0 w 71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50">
                  <a:moveTo>
                    <a:pt x="24" y="8"/>
                  </a:moveTo>
                  <a:cubicBezTo>
                    <a:pt x="24" y="8"/>
                    <a:pt x="71" y="0"/>
                    <a:pt x="54" y="70"/>
                  </a:cubicBezTo>
                  <a:cubicBezTo>
                    <a:pt x="37" y="140"/>
                    <a:pt x="0" y="150"/>
                    <a:pt x="0" y="15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Freeform 8"/>
            <p:cNvSpPr>
              <a:spLocks/>
            </p:cNvSpPr>
            <p:nvPr/>
          </p:nvSpPr>
          <p:spPr bwMode="auto">
            <a:xfrm>
              <a:off x="7225" y="601"/>
              <a:ext cx="17" cy="34"/>
            </a:xfrm>
            <a:custGeom>
              <a:avLst/>
              <a:gdLst>
                <a:gd name="T0" fmla="*/ 48 w 78"/>
                <a:gd name="T1" fmla="*/ 8 h 150"/>
                <a:gd name="T2" fmla="*/ 17 w 78"/>
                <a:gd name="T3" fmla="*/ 70 h 150"/>
                <a:gd name="T4" fmla="*/ 78 w 78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150">
                  <a:moveTo>
                    <a:pt x="48" y="8"/>
                  </a:moveTo>
                  <a:cubicBezTo>
                    <a:pt x="48" y="8"/>
                    <a:pt x="0" y="0"/>
                    <a:pt x="17" y="70"/>
                  </a:cubicBezTo>
                  <a:cubicBezTo>
                    <a:pt x="35" y="140"/>
                    <a:pt x="78" y="150"/>
                    <a:pt x="78" y="15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Freeform 9"/>
            <p:cNvSpPr>
              <a:spLocks/>
            </p:cNvSpPr>
            <p:nvPr/>
          </p:nvSpPr>
          <p:spPr bwMode="auto">
            <a:xfrm>
              <a:off x="7338" y="693"/>
              <a:ext cx="51" cy="60"/>
            </a:xfrm>
            <a:custGeom>
              <a:avLst/>
              <a:gdLst>
                <a:gd name="T0" fmla="*/ 0 w 224"/>
                <a:gd name="T1" fmla="*/ 0 h 263"/>
                <a:gd name="T2" fmla="*/ 82 w 224"/>
                <a:gd name="T3" fmla="*/ 39 h 263"/>
                <a:gd name="T4" fmla="*/ 224 w 224"/>
                <a:gd name="T5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4" h="263">
                  <a:moveTo>
                    <a:pt x="0" y="0"/>
                  </a:moveTo>
                  <a:lnTo>
                    <a:pt x="82" y="39"/>
                  </a:lnTo>
                  <a:cubicBezTo>
                    <a:pt x="197" y="96"/>
                    <a:pt x="220" y="207"/>
                    <a:pt x="224" y="26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Freeform 10"/>
            <p:cNvSpPr>
              <a:spLocks/>
            </p:cNvSpPr>
            <p:nvPr/>
          </p:nvSpPr>
          <p:spPr bwMode="auto">
            <a:xfrm>
              <a:off x="7185" y="694"/>
              <a:ext cx="54" cy="59"/>
            </a:xfrm>
            <a:custGeom>
              <a:avLst/>
              <a:gdLst>
                <a:gd name="T0" fmla="*/ 239 w 239"/>
                <a:gd name="T1" fmla="*/ 0 h 260"/>
                <a:gd name="T2" fmla="*/ 142 w 239"/>
                <a:gd name="T3" fmla="*/ 36 h 260"/>
                <a:gd name="T4" fmla="*/ 0 w 239"/>
                <a:gd name="T5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9" h="260">
                  <a:moveTo>
                    <a:pt x="239" y="0"/>
                  </a:moveTo>
                  <a:cubicBezTo>
                    <a:pt x="218" y="13"/>
                    <a:pt x="164" y="24"/>
                    <a:pt x="142" y="36"/>
                  </a:cubicBezTo>
                  <a:cubicBezTo>
                    <a:pt x="26" y="93"/>
                    <a:pt x="4" y="204"/>
                    <a:pt x="0" y="2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6" name="Freeform 11"/>
            <p:cNvSpPr>
              <a:spLocks/>
            </p:cNvSpPr>
            <p:nvPr/>
          </p:nvSpPr>
          <p:spPr bwMode="auto">
            <a:xfrm>
              <a:off x="7290" y="678"/>
              <a:ext cx="48" cy="44"/>
            </a:xfrm>
            <a:custGeom>
              <a:avLst/>
              <a:gdLst>
                <a:gd name="T0" fmla="*/ 0 w 215"/>
                <a:gd name="T1" fmla="*/ 99 h 196"/>
                <a:gd name="T2" fmla="*/ 101 w 215"/>
                <a:gd name="T3" fmla="*/ 0 h 196"/>
                <a:gd name="T4" fmla="*/ 215 w 215"/>
                <a:gd name="T5" fmla="*/ 67 h 196"/>
                <a:gd name="T6" fmla="*/ 100 w 215"/>
                <a:gd name="T7" fmla="*/ 184 h 196"/>
                <a:gd name="T8" fmla="*/ 58 w 215"/>
                <a:gd name="T9" fmla="*/ 180 h 196"/>
                <a:gd name="T10" fmla="*/ 0 w 215"/>
                <a:gd name="T11" fmla="*/ 9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96">
                  <a:moveTo>
                    <a:pt x="0" y="99"/>
                  </a:moveTo>
                  <a:cubicBezTo>
                    <a:pt x="0" y="99"/>
                    <a:pt x="82" y="70"/>
                    <a:pt x="101" y="0"/>
                  </a:cubicBezTo>
                  <a:lnTo>
                    <a:pt x="215" y="67"/>
                  </a:lnTo>
                  <a:lnTo>
                    <a:pt x="100" y="184"/>
                  </a:lnTo>
                  <a:cubicBezTo>
                    <a:pt x="88" y="196"/>
                    <a:pt x="68" y="194"/>
                    <a:pt x="58" y="180"/>
                  </a:cubicBezTo>
                  <a:lnTo>
                    <a:pt x="0" y="99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Freeform 12"/>
            <p:cNvSpPr>
              <a:spLocks/>
            </p:cNvSpPr>
            <p:nvPr/>
          </p:nvSpPr>
          <p:spPr bwMode="auto">
            <a:xfrm>
              <a:off x="7240" y="678"/>
              <a:ext cx="49" cy="44"/>
            </a:xfrm>
            <a:custGeom>
              <a:avLst/>
              <a:gdLst>
                <a:gd name="T0" fmla="*/ 218 w 218"/>
                <a:gd name="T1" fmla="*/ 98 h 196"/>
                <a:gd name="T2" fmla="*/ 114 w 218"/>
                <a:gd name="T3" fmla="*/ 0 h 196"/>
                <a:gd name="T4" fmla="*/ 0 w 218"/>
                <a:gd name="T5" fmla="*/ 67 h 196"/>
                <a:gd name="T6" fmla="*/ 115 w 218"/>
                <a:gd name="T7" fmla="*/ 184 h 196"/>
                <a:gd name="T8" fmla="*/ 157 w 218"/>
                <a:gd name="T9" fmla="*/ 180 h 196"/>
                <a:gd name="T10" fmla="*/ 218 w 218"/>
                <a:gd name="T11" fmla="*/ 9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6">
                  <a:moveTo>
                    <a:pt x="218" y="98"/>
                  </a:moveTo>
                  <a:cubicBezTo>
                    <a:pt x="218" y="98"/>
                    <a:pt x="133" y="70"/>
                    <a:pt x="114" y="0"/>
                  </a:cubicBezTo>
                  <a:lnTo>
                    <a:pt x="0" y="67"/>
                  </a:lnTo>
                  <a:lnTo>
                    <a:pt x="115" y="184"/>
                  </a:lnTo>
                  <a:cubicBezTo>
                    <a:pt x="128" y="196"/>
                    <a:pt x="148" y="194"/>
                    <a:pt x="157" y="180"/>
                  </a:cubicBezTo>
                  <a:lnTo>
                    <a:pt x="218" y="98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8" name="Freeform 13"/>
            <p:cNvSpPr>
              <a:spLocks/>
            </p:cNvSpPr>
            <p:nvPr/>
          </p:nvSpPr>
          <p:spPr bwMode="auto">
            <a:xfrm>
              <a:off x="7306" y="569"/>
              <a:ext cx="29" cy="32"/>
            </a:xfrm>
            <a:custGeom>
              <a:avLst/>
              <a:gdLst>
                <a:gd name="T0" fmla="*/ 0 w 131"/>
                <a:gd name="T1" fmla="*/ 34 h 143"/>
                <a:gd name="T2" fmla="*/ 75 w 131"/>
                <a:gd name="T3" fmla="*/ 0 h 143"/>
                <a:gd name="T4" fmla="*/ 131 w 131"/>
                <a:gd name="T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1" h="143">
                  <a:moveTo>
                    <a:pt x="0" y="34"/>
                  </a:moveTo>
                  <a:cubicBezTo>
                    <a:pt x="26" y="26"/>
                    <a:pt x="51" y="14"/>
                    <a:pt x="75" y="0"/>
                  </a:cubicBezTo>
                  <a:cubicBezTo>
                    <a:pt x="75" y="0"/>
                    <a:pt x="114" y="103"/>
                    <a:pt x="131" y="14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Freeform 14"/>
            <p:cNvSpPr>
              <a:spLocks/>
            </p:cNvSpPr>
            <p:nvPr/>
          </p:nvSpPr>
          <p:spPr bwMode="auto">
            <a:xfrm>
              <a:off x="7239" y="566"/>
              <a:ext cx="57" cy="36"/>
            </a:xfrm>
            <a:custGeom>
              <a:avLst/>
              <a:gdLst>
                <a:gd name="T0" fmla="*/ 0 w 254"/>
                <a:gd name="T1" fmla="*/ 158 h 158"/>
                <a:gd name="T2" fmla="*/ 58 w 254"/>
                <a:gd name="T3" fmla="*/ 0 h 158"/>
                <a:gd name="T4" fmla="*/ 225 w 254"/>
                <a:gd name="T5" fmla="*/ 58 h 158"/>
                <a:gd name="T6" fmla="*/ 254 w 254"/>
                <a:gd name="T7" fmla="*/ 5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4" h="158">
                  <a:moveTo>
                    <a:pt x="0" y="158"/>
                  </a:moveTo>
                  <a:cubicBezTo>
                    <a:pt x="1" y="156"/>
                    <a:pt x="48" y="56"/>
                    <a:pt x="58" y="0"/>
                  </a:cubicBezTo>
                  <a:cubicBezTo>
                    <a:pt x="58" y="0"/>
                    <a:pt x="152" y="58"/>
                    <a:pt x="225" y="58"/>
                  </a:cubicBezTo>
                  <a:cubicBezTo>
                    <a:pt x="235" y="58"/>
                    <a:pt x="245" y="57"/>
                    <a:pt x="254" y="5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Freeform 15"/>
            <p:cNvSpPr>
              <a:spLocks/>
            </p:cNvSpPr>
            <p:nvPr/>
          </p:nvSpPr>
          <p:spPr bwMode="auto">
            <a:xfrm>
              <a:off x="7331" y="541"/>
              <a:ext cx="14" cy="62"/>
            </a:xfrm>
            <a:custGeom>
              <a:avLst/>
              <a:gdLst>
                <a:gd name="T0" fmla="*/ 0 w 61"/>
                <a:gd name="T1" fmla="*/ 0 h 276"/>
                <a:gd name="T2" fmla="*/ 50 w 61"/>
                <a:gd name="T3" fmla="*/ 107 h 276"/>
                <a:gd name="T4" fmla="*/ 36 w 61"/>
                <a:gd name="T5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76">
                  <a:moveTo>
                    <a:pt x="0" y="0"/>
                  </a:moveTo>
                  <a:cubicBezTo>
                    <a:pt x="25" y="31"/>
                    <a:pt x="43" y="68"/>
                    <a:pt x="50" y="107"/>
                  </a:cubicBezTo>
                  <a:cubicBezTo>
                    <a:pt x="61" y="184"/>
                    <a:pt x="36" y="276"/>
                    <a:pt x="36" y="27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Freeform 16"/>
            <p:cNvSpPr>
              <a:spLocks/>
            </p:cNvSpPr>
            <p:nvPr/>
          </p:nvSpPr>
          <p:spPr bwMode="auto">
            <a:xfrm>
              <a:off x="7214" y="516"/>
              <a:ext cx="111" cy="85"/>
            </a:xfrm>
            <a:custGeom>
              <a:avLst/>
              <a:gdLst>
                <a:gd name="T0" fmla="*/ 81 w 494"/>
                <a:gd name="T1" fmla="*/ 377 h 377"/>
                <a:gd name="T2" fmla="*/ 147 w 494"/>
                <a:gd name="T3" fmla="*/ 101 h 377"/>
                <a:gd name="T4" fmla="*/ 370 w 494"/>
                <a:gd name="T5" fmla="*/ 19 h 377"/>
                <a:gd name="T6" fmla="*/ 494 w 494"/>
                <a:gd name="T7" fmla="*/ 83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4" h="377">
                  <a:moveTo>
                    <a:pt x="81" y="377"/>
                  </a:moveTo>
                  <a:cubicBezTo>
                    <a:pt x="81" y="377"/>
                    <a:pt x="0" y="133"/>
                    <a:pt x="147" y="101"/>
                  </a:cubicBezTo>
                  <a:cubicBezTo>
                    <a:pt x="199" y="32"/>
                    <a:pt x="286" y="0"/>
                    <a:pt x="370" y="19"/>
                  </a:cubicBezTo>
                  <a:cubicBezTo>
                    <a:pt x="417" y="29"/>
                    <a:pt x="460" y="51"/>
                    <a:pt x="494" y="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Line 17"/>
            <p:cNvSpPr>
              <a:spLocks noChangeShapeType="1"/>
            </p:cNvSpPr>
            <p:nvPr/>
          </p:nvSpPr>
          <p:spPr bwMode="auto">
            <a:xfrm>
              <a:off x="7265" y="669"/>
              <a:ext cx="0" cy="1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Line 18"/>
            <p:cNvSpPr>
              <a:spLocks noChangeShapeType="1"/>
            </p:cNvSpPr>
            <p:nvPr/>
          </p:nvSpPr>
          <p:spPr bwMode="auto">
            <a:xfrm>
              <a:off x="7312" y="669"/>
              <a:ext cx="0" cy="1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4" name="Freeform 19"/>
            <p:cNvSpPr>
              <a:spLocks/>
            </p:cNvSpPr>
            <p:nvPr/>
          </p:nvSpPr>
          <p:spPr bwMode="auto">
            <a:xfrm>
              <a:off x="7275" y="719"/>
              <a:ext cx="28" cy="12"/>
            </a:xfrm>
            <a:custGeom>
              <a:avLst/>
              <a:gdLst>
                <a:gd name="T0" fmla="*/ 0 w 122"/>
                <a:gd name="T1" fmla="*/ 0 h 55"/>
                <a:gd name="T2" fmla="*/ 45 w 122"/>
                <a:gd name="T3" fmla="*/ 46 h 55"/>
                <a:gd name="T4" fmla="*/ 78 w 122"/>
                <a:gd name="T5" fmla="*/ 46 h 55"/>
                <a:gd name="T6" fmla="*/ 122 w 122"/>
                <a:gd name="T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55">
                  <a:moveTo>
                    <a:pt x="0" y="0"/>
                  </a:moveTo>
                  <a:lnTo>
                    <a:pt x="45" y="46"/>
                  </a:lnTo>
                  <a:cubicBezTo>
                    <a:pt x="54" y="55"/>
                    <a:pt x="69" y="55"/>
                    <a:pt x="78" y="46"/>
                  </a:cubicBezTo>
                  <a:lnTo>
                    <a:pt x="122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5" name="Line 20"/>
            <p:cNvSpPr>
              <a:spLocks noChangeShapeType="1"/>
            </p:cNvSpPr>
            <p:nvPr/>
          </p:nvSpPr>
          <p:spPr bwMode="auto">
            <a:xfrm flipH="1">
              <a:off x="7276" y="730"/>
              <a:ext cx="11" cy="5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6" name="Line 21"/>
            <p:cNvSpPr>
              <a:spLocks noChangeShapeType="1"/>
            </p:cNvSpPr>
            <p:nvPr/>
          </p:nvSpPr>
          <p:spPr bwMode="auto">
            <a:xfrm flipH="1" flipV="1">
              <a:off x="7292" y="730"/>
              <a:ext cx="11" cy="5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7" name="Line 22"/>
            <p:cNvSpPr>
              <a:spLocks noChangeShapeType="1"/>
            </p:cNvSpPr>
            <p:nvPr/>
          </p:nvSpPr>
          <p:spPr bwMode="auto">
            <a:xfrm flipH="1" flipV="1">
              <a:off x="7195" y="663"/>
              <a:ext cx="1" cy="1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0" name="Line 23"/>
            <p:cNvSpPr>
              <a:spLocks noChangeShapeType="1"/>
            </p:cNvSpPr>
            <p:nvPr/>
          </p:nvSpPr>
          <p:spPr bwMode="auto">
            <a:xfrm flipH="1">
              <a:off x="7177" y="663"/>
              <a:ext cx="0" cy="1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1" name="Freeform 24"/>
            <p:cNvSpPr>
              <a:spLocks/>
            </p:cNvSpPr>
            <p:nvPr/>
          </p:nvSpPr>
          <p:spPr bwMode="auto">
            <a:xfrm>
              <a:off x="7157" y="632"/>
              <a:ext cx="9" cy="17"/>
            </a:xfrm>
            <a:custGeom>
              <a:avLst/>
              <a:gdLst>
                <a:gd name="T0" fmla="*/ 40 w 40"/>
                <a:gd name="T1" fmla="*/ 64 h 76"/>
                <a:gd name="T2" fmla="*/ 7 w 40"/>
                <a:gd name="T3" fmla="*/ 32 h 76"/>
                <a:gd name="T4" fmla="*/ 22 w 40"/>
                <a:gd name="T5" fmla="*/ 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76">
                  <a:moveTo>
                    <a:pt x="40" y="64"/>
                  </a:moveTo>
                  <a:cubicBezTo>
                    <a:pt x="40" y="64"/>
                    <a:pt x="16" y="76"/>
                    <a:pt x="7" y="32"/>
                  </a:cubicBezTo>
                  <a:cubicBezTo>
                    <a:pt x="0" y="0"/>
                    <a:pt x="22" y="4"/>
                    <a:pt x="22" y="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2" name="Freeform 25"/>
            <p:cNvSpPr>
              <a:spLocks/>
            </p:cNvSpPr>
            <p:nvPr/>
          </p:nvSpPr>
          <p:spPr bwMode="auto">
            <a:xfrm>
              <a:off x="7207" y="632"/>
              <a:ext cx="9" cy="18"/>
            </a:xfrm>
            <a:custGeom>
              <a:avLst/>
              <a:gdLst>
                <a:gd name="T0" fmla="*/ 0 w 40"/>
                <a:gd name="T1" fmla="*/ 65 h 77"/>
                <a:gd name="T2" fmla="*/ 32 w 40"/>
                <a:gd name="T3" fmla="*/ 32 h 77"/>
                <a:gd name="T4" fmla="*/ 17 w 40"/>
                <a:gd name="T5" fmla="*/ 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77">
                  <a:moveTo>
                    <a:pt x="0" y="65"/>
                  </a:moveTo>
                  <a:cubicBezTo>
                    <a:pt x="0" y="65"/>
                    <a:pt x="22" y="77"/>
                    <a:pt x="32" y="32"/>
                  </a:cubicBezTo>
                  <a:cubicBezTo>
                    <a:pt x="40" y="0"/>
                    <a:pt x="17" y="4"/>
                    <a:pt x="17" y="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3" name="Freeform 26"/>
            <p:cNvSpPr>
              <a:spLocks/>
            </p:cNvSpPr>
            <p:nvPr/>
          </p:nvSpPr>
          <p:spPr bwMode="auto">
            <a:xfrm>
              <a:off x="7196" y="670"/>
              <a:ext cx="36" cy="23"/>
            </a:xfrm>
            <a:custGeom>
              <a:avLst/>
              <a:gdLst>
                <a:gd name="T0" fmla="*/ 0 w 163"/>
                <a:gd name="T1" fmla="*/ 0 h 102"/>
                <a:gd name="T2" fmla="*/ 97 w 163"/>
                <a:gd name="T3" fmla="*/ 42 h 102"/>
                <a:gd name="T4" fmla="*/ 156 w 163"/>
                <a:gd name="T5" fmla="*/ 85 h 102"/>
                <a:gd name="T6" fmla="*/ 163 w 163"/>
                <a:gd name="T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102">
                  <a:moveTo>
                    <a:pt x="0" y="0"/>
                  </a:moveTo>
                  <a:cubicBezTo>
                    <a:pt x="0" y="0"/>
                    <a:pt x="22" y="22"/>
                    <a:pt x="97" y="42"/>
                  </a:cubicBezTo>
                  <a:cubicBezTo>
                    <a:pt x="122" y="47"/>
                    <a:pt x="144" y="63"/>
                    <a:pt x="156" y="85"/>
                  </a:cubicBezTo>
                  <a:cubicBezTo>
                    <a:pt x="159" y="90"/>
                    <a:pt x="161" y="96"/>
                    <a:pt x="163" y="10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4" name="Freeform 27"/>
            <p:cNvSpPr>
              <a:spLocks/>
            </p:cNvSpPr>
            <p:nvPr/>
          </p:nvSpPr>
          <p:spPr bwMode="auto">
            <a:xfrm>
              <a:off x="7146" y="670"/>
              <a:ext cx="31" cy="14"/>
            </a:xfrm>
            <a:custGeom>
              <a:avLst/>
              <a:gdLst>
                <a:gd name="T0" fmla="*/ 137 w 137"/>
                <a:gd name="T1" fmla="*/ 0 h 61"/>
                <a:gd name="T2" fmla="*/ 40 w 137"/>
                <a:gd name="T3" fmla="*/ 42 h 61"/>
                <a:gd name="T4" fmla="*/ 0 w 137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61">
                  <a:moveTo>
                    <a:pt x="137" y="0"/>
                  </a:moveTo>
                  <a:cubicBezTo>
                    <a:pt x="137" y="0"/>
                    <a:pt x="115" y="22"/>
                    <a:pt x="40" y="42"/>
                  </a:cubicBezTo>
                  <a:cubicBezTo>
                    <a:pt x="25" y="45"/>
                    <a:pt x="12" y="52"/>
                    <a:pt x="0" y="6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Freeform 28"/>
            <p:cNvSpPr>
              <a:spLocks/>
            </p:cNvSpPr>
            <p:nvPr/>
          </p:nvSpPr>
          <p:spPr bwMode="auto">
            <a:xfrm>
              <a:off x="7162" y="631"/>
              <a:ext cx="49" cy="35"/>
            </a:xfrm>
            <a:custGeom>
              <a:avLst/>
              <a:gdLst>
                <a:gd name="T0" fmla="*/ 216 w 216"/>
                <a:gd name="T1" fmla="*/ 0 h 153"/>
                <a:gd name="T2" fmla="*/ 216 w 216"/>
                <a:gd name="T3" fmla="*/ 0 h 153"/>
                <a:gd name="T4" fmla="*/ 170 w 216"/>
                <a:gd name="T5" fmla="*/ 117 h 153"/>
                <a:gd name="T6" fmla="*/ 134 w 216"/>
                <a:gd name="T7" fmla="*/ 145 h 153"/>
                <a:gd name="T8" fmla="*/ 82 w 216"/>
                <a:gd name="T9" fmla="*/ 145 h 153"/>
                <a:gd name="T10" fmla="*/ 41 w 216"/>
                <a:gd name="T11" fmla="*/ 112 h 153"/>
                <a:gd name="T12" fmla="*/ 0 w 216"/>
                <a:gd name="T13" fmla="*/ 0 h 153"/>
                <a:gd name="T14" fmla="*/ 0 w 216"/>
                <a:gd name="T1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53">
                  <a:moveTo>
                    <a:pt x="216" y="0"/>
                  </a:moveTo>
                  <a:lnTo>
                    <a:pt x="216" y="0"/>
                  </a:lnTo>
                  <a:cubicBezTo>
                    <a:pt x="214" y="35"/>
                    <a:pt x="183" y="100"/>
                    <a:pt x="170" y="117"/>
                  </a:cubicBezTo>
                  <a:cubicBezTo>
                    <a:pt x="160" y="129"/>
                    <a:pt x="148" y="138"/>
                    <a:pt x="134" y="145"/>
                  </a:cubicBezTo>
                  <a:cubicBezTo>
                    <a:pt x="118" y="153"/>
                    <a:pt x="98" y="153"/>
                    <a:pt x="82" y="145"/>
                  </a:cubicBezTo>
                  <a:cubicBezTo>
                    <a:pt x="66" y="137"/>
                    <a:pt x="52" y="125"/>
                    <a:pt x="41" y="112"/>
                  </a:cubicBezTo>
                  <a:cubicBezTo>
                    <a:pt x="19" y="78"/>
                    <a:pt x="5" y="40"/>
                    <a:pt x="0" y="0"/>
                  </a:cubicBezTo>
                  <a:lnTo>
                    <a:pt x="0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6" name="Freeform 29"/>
            <p:cNvSpPr>
              <a:spLocks/>
            </p:cNvSpPr>
            <p:nvPr/>
          </p:nvSpPr>
          <p:spPr bwMode="auto">
            <a:xfrm>
              <a:off x="7206" y="623"/>
              <a:ext cx="5" cy="8"/>
            </a:xfrm>
            <a:custGeom>
              <a:avLst/>
              <a:gdLst>
                <a:gd name="T0" fmla="*/ 0 w 23"/>
                <a:gd name="T1" fmla="*/ 0 h 36"/>
                <a:gd name="T2" fmla="*/ 23 w 23"/>
                <a:gd name="T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36">
                  <a:moveTo>
                    <a:pt x="0" y="0"/>
                  </a:moveTo>
                  <a:cubicBezTo>
                    <a:pt x="6" y="13"/>
                    <a:pt x="13" y="25"/>
                    <a:pt x="23" y="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7" name="Freeform 30"/>
            <p:cNvSpPr>
              <a:spLocks/>
            </p:cNvSpPr>
            <p:nvPr/>
          </p:nvSpPr>
          <p:spPr bwMode="auto">
            <a:xfrm>
              <a:off x="7162" y="612"/>
              <a:ext cx="42" cy="23"/>
            </a:xfrm>
            <a:custGeom>
              <a:avLst/>
              <a:gdLst>
                <a:gd name="T0" fmla="*/ 0 w 185"/>
                <a:gd name="T1" fmla="*/ 87 h 102"/>
                <a:gd name="T2" fmla="*/ 15 w 185"/>
                <a:gd name="T3" fmla="*/ 82 h 102"/>
                <a:gd name="T4" fmla="*/ 32 w 185"/>
                <a:gd name="T5" fmla="*/ 77 h 102"/>
                <a:gd name="T6" fmla="*/ 42 w 185"/>
                <a:gd name="T7" fmla="*/ 102 h 102"/>
                <a:gd name="T8" fmla="*/ 67 w 185"/>
                <a:gd name="T9" fmla="*/ 42 h 102"/>
                <a:gd name="T10" fmla="*/ 83 w 185"/>
                <a:gd name="T11" fmla="*/ 67 h 102"/>
                <a:gd name="T12" fmla="*/ 114 w 185"/>
                <a:gd name="T13" fmla="*/ 23 h 102"/>
                <a:gd name="T14" fmla="*/ 127 w 185"/>
                <a:gd name="T15" fmla="*/ 44 h 102"/>
                <a:gd name="T16" fmla="*/ 173 w 185"/>
                <a:gd name="T17" fmla="*/ 0 h 102"/>
                <a:gd name="T18" fmla="*/ 185 w 185"/>
                <a:gd name="T19" fmla="*/ 3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02">
                  <a:moveTo>
                    <a:pt x="0" y="87"/>
                  </a:moveTo>
                  <a:cubicBezTo>
                    <a:pt x="5" y="85"/>
                    <a:pt x="10" y="84"/>
                    <a:pt x="15" y="82"/>
                  </a:cubicBezTo>
                  <a:cubicBezTo>
                    <a:pt x="23" y="79"/>
                    <a:pt x="27" y="65"/>
                    <a:pt x="32" y="77"/>
                  </a:cubicBezTo>
                  <a:cubicBezTo>
                    <a:pt x="37" y="88"/>
                    <a:pt x="42" y="102"/>
                    <a:pt x="42" y="102"/>
                  </a:cubicBezTo>
                  <a:cubicBezTo>
                    <a:pt x="40" y="79"/>
                    <a:pt x="49" y="57"/>
                    <a:pt x="67" y="42"/>
                  </a:cubicBezTo>
                  <a:cubicBezTo>
                    <a:pt x="67" y="42"/>
                    <a:pt x="76" y="67"/>
                    <a:pt x="83" y="67"/>
                  </a:cubicBezTo>
                  <a:cubicBezTo>
                    <a:pt x="83" y="67"/>
                    <a:pt x="100" y="32"/>
                    <a:pt x="114" y="23"/>
                  </a:cubicBezTo>
                  <a:cubicBezTo>
                    <a:pt x="129" y="14"/>
                    <a:pt x="117" y="40"/>
                    <a:pt x="127" y="44"/>
                  </a:cubicBezTo>
                  <a:cubicBezTo>
                    <a:pt x="127" y="44"/>
                    <a:pt x="133" y="17"/>
                    <a:pt x="173" y="0"/>
                  </a:cubicBezTo>
                  <a:cubicBezTo>
                    <a:pt x="173" y="0"/>
                    <a:pt x="178" y="15"/>
                    <a:pt x="185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8" name="Freeform 31"/>
            <p:cNvSpPr>
              <a:spLocks/>
            </p:cNvSpPr>
            <p:nvPr/>
          </p:nvSpPr>
          <p:spPr bwMode="auto">
            <a:xfrm>
              <a:off x="7211" y="615"/>
              <a:ext cx="10" cy="62"/>
            </a:xfrm>
            <a:custGeom>
              <a:avLst/>
              <a:gdLst>
                <a:gd name="T0" fmla="*/ 11 w 45"/>
                <a:gd name="T1" fmla="*/ 0 h 279"/>
                <a:gd name="T2" fmla="*/ 0 w 45"/>
                <a:gd name="T3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279">
                  <a:moveTo>
                    <a:pt x="11" y="0"/>
                  </a:moveTo>
                  <a:cubicBezTo>
                    <a:pt x="45" y="95"/>
                    <a:pt x="0" y="279"/>
                    <a:pt x="0" y="27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9" name="Freeform 32"/>
            <p:cNvSpPr>
              <a:spLocks/>
            </p:cNvSpPr>
            <p:nvPr/>
          </p:nvSpPr>
          <p:spPr bwMode="auto">
            <a:xfrm>
              <a:off x="7153" y="586"/>
              <a:ext cx="59" cy="90"/>
            </a:xfrm>
            <a:custGeom>
              <a:avLst/>
              <a:gdLst>
                <a:gd name="T0" fmla="*/ 44 w 261"/>
                <a:gd name="T1" fmla="*/ 399 h 399"/>
                <a:gd name="T2" fmla="*/ 22 w 261"/>
                <a:gd name="T3" fmla="*/ 137 h 399"/>
                <a:gd name="T4" fmla="*/ 256 w 261"/>
                <a:gd name="T5" fmla="*/ 101 h 399"/>
                <a:gd name="T6" fmla="*/ 261 w 261"/>
                <a:gd name="T7" fmla="*/ 1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399">
                  <a:moveTo>
                    <a:pt x="44" y="399"/>
                  </a:moveTo>
                  <a:cubicBezTo>
                    <a:pt x="44" y="399"/>
                    <a:pt x="0" y="253"/>
                    <a:pt x="22" y="137"/>
                  </a:cubicBezTo>
                  <a:cubicBezTo>
                    <a:pt x="42" y="30"/>
                    <a:pt x="196" y="0"/>
                    <a:pt x="256" y="101"/>
                  </a:cubicBezTo>
                  <a:cubicBezTo>
                    <a:pt x="258" y="104"/>
                    <a:pt x="260" y="108"/>
                    <a:pt x="261" y="11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0" name="Freeform 33"/>
            <p:cNvSpPr>
              <a:spLocks/>
            </p:cNvSpPr>
            <p:nvPr/>
          </p:nvSpPr>
          <p:spPr bwMode="auto">
            <a:xfrm>
              <a:off x="7153" y="680"/>
              <a:ext cx="69" cy="16"/>
            </a:xfrm>
            <a:custGeom>
              <a:avLst/>
              <a:gdLst>
                <a:gd name="T0" fmla="*/ 0 w 307"/>
                <a:gd name="T1" fmla="*/ 0 h 70"/>
                <a:gd name="T2" fmla="*/ 143 w 307"/>
                <a:gd name="T3" fmla="*/ 70 h 70"/>
                <a:gd name="T4" fmla="*/ 307 w 307"/>
                <a:gd name="T5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70">
                  <a:moveTo>
                    <a:pt x="0" y="0"/>
                  </a:moveTo>
                  <a:cubicBezTo>
                    <a:pt x="0" y="0"/>
                    <a:pt x="4" y="70"/>
                    <a:pt x="143" y="70"/>
                  </a:cubicBezTo>
                  <a:cubicBezTo>
                    <a:pt x="283" y="70"/>
                    <a:pt x="307" y="5"/>
                    <a:pt x="307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1" name="Freeform 34"/>
            <p:cNvSpPr>
              <a:spLocks/>
            </p:cNvSpPr>
            <p:nvPr/>
          </p:nvSpPr>
          <p:spPr bwMode="auto">
            <a:xfrm>
              <a:off x="7324" y="744"/>
              <a:ext cx="28" cy="17"/>
            </a:xfrm>
            <a:custGeom>
              <a:avLst/>
              <a:gdLst>
                <a:gd name="T0" fmla="*/ 124 w 124"/>
                <a:gd name="T1" fmla="*/ 75 h 75"/>
                <a:gd name="T2" fmla="*/ 0 w 124"/>
                <a:gd name="T3" fmla="*/ 75 h 75"/>
                <a:gd name="T4" fmla="*/ 0 w 124"/>
                <a:gd name="T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4" h="75">
                  <a:moveTo>
                    <a:pt x="124" y="75"/>
                  </a:moveTo>
                  <a:lnTo>
                    <a:pt x="0" y="75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0" name="Freeform 35"/>
            <p:cNvSpPr>
              <a:spLocks/>
            </p:cNvSpPr>
            <p:nvPr/>
          </p:nvSpPr>
          <p:spPr bwMode="auto">
            <a:xfrm>
              <a:off x="7361" y="595"/>
              <a:ext cx="61" cy="68"/>
            </a:xfrm>
            <a:custGeom>
              <a:avLst/>
              <a:gdLst>
                <a:gd name="T0" fmla="*/ 268 w 268"/>
                <a:gd name="T1" fmla="*/ 89 h 301"/>
                <a:gd name="T2" fmla="*/ 264 w 268"/>
                <a:gd name="T3" fmla="*/ 121 h 301"/>
                <a:gd name="T4" fmla="*/ 235 w 268"/>
                <a:gd name="T5" fmla="*/ 234 h 301"/>
                <a:gd name="T6" fmla="*/ 212 w 268"/>
                <a:gd name="T7" fmla="*/ 263 h 301"/>
                <a:gd name="T8" fmla="*/ 67 w 268"/>
                <a:gd name="T9" fmla="*/ 262 h 301"/>
                <a:gd name="T10" fmla="*/ 39 w 268"/>
                <a:gd name="T11" fmla="*/ 229 h 301"/>
                <a:gd name="T12" fmla="*/ 9 w 268"/>
                <a:gd name="T13" fmla="*/ 128 h 301"/>
                <a:gd name="T14" fmla="*/ 5 w 268"/>
                <a:gd name="T15" fmla="*/ 88 h 301"/>
                <a:gd name="T16" fmla="*/ 12 w 268"/>
                <a:gd name="T1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301">
                  <a:moveTo>
                    <a:pt x="268" y="89"/>
                  </a:moveTo>
                  <a:cubicBezTo>
                    <a:pt x="268" y="91"/>
                    <a:pt x="264" y="119"/>
                    <a:pt x="264" y="121"/>
                  </a:cubicBezTo>
                  <a:cubicBezTo>
                    <a:pt x="263" y="160"/>
                    <a:pt x="253" y="199"/>
                    <a:pt x="235" y="234"/>
                  </a:cubicBezTo>
                  <a:cubicBezTo>
                    <a:pt x="229" y="245"/>
                    <a:pt x="221" y="255"/>
                    <a:pt x="212" y="263"/>
                  </a:cubicBezTo>
                  <a:cubicBezTo>
                    <a:pt x="171" y="301"/>
                    <a:pt x="108" y="300"/>
                    <a:pt x="67" y="262"/>
                  </a:cubicBezTo>
                  <a:cubicBezTo>
                    <a:pt x="56" y="252"/>
                    <a:pt x="47" y="241"/>
                    <a:pt x="39" y="229"/>
                  </a:cubicBezTo>
                  <a:cubicBezTo>
                    <a:pt x="21" y="198"/>
                    <a:pt x="11" y="163"/>
                    <a:pt x="9" y="128"/>
                  </a:cubicBezTo>
                  <a:cubicBezTo>
                    <a:pt x="9" y="125"/>
                    <a:pt x="5" y="90"/>
                    <a:pt x="5" y="88"/>
                  </a:cubicBezTo>
                  <a:cubicBezTo>
                    <a:pt x="0" y="58"/>
                    <a:pt x="3" y="28"/>
                    <a:pt x="1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1" name="Freeform 36"/>
            <p:cNvSpPr>
              <a:spLocks/>
            </p:cNvSpPr>
            <p:nvPr/>
          </p:nvSpPr>
          <p:spPr bwMode="auto">
            <a:xfrm>
              <a:off x="7419" y="615"/>
              <a:ext cx="10" cy="21"/>
            </a:xfrm>
            <a:custGeom>
              <a:avLst/>
              <a:gdLst>
                <a:gd name="T0" fmla="*/ 15 w 44"/>
                <a:gd name="T1" fmla="*/ 4 h 91"/>
                <a:gd name="T2" fmla="*/ 33 w 44"/>
                <a:gd name="T3" fmla="*/ 43 h 91"/>
                <a:gd name="T4" fmla="*/ 0 w 44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91">
                  <a:moveTo>
                    <a:pt x="15" y="4"/>
                  </a:moveTo>
                  <a:cubicBezTo>
                    <a:pt x="15" y="4"/>
                    <a:pt x="44" y="0"/>
                    <a:pt x="33" y="43"/>
                  </a:cubicBezTo>
                  <a:cubicBezTo>
                    <a:pt x="22" y="86"/>
                    <a:pt x="0" y="91"/>
                    <a:pt x="0" y="9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2" name="Freeform 37"/>
            <p:cNvSpPr>
              <a:spLocks/>
            </p:cNvSpPr>
            <p:nvPr/>
          </p:nvSpPr>
          <p:spPr bwMode="auto">
            <a:xfrm>
              <a:off x="7354" y="615"/>
              <a:ext cx="11" cy="21"/>
            </a:xfrm>
            <a:custGeom>
              <a:avLst/>
              <a:gdLst>
                <a:gd name="T0" fmla="*/ 29 w 47"/>
                <a:gd name="T1" fmla="*/ 5 h 92"/>
                <a:gd name="T2" fmla="*/ 10 w 47"/>
                <a:gd name="T3" fmla="*/ 43 h 92"/>
                <a:gd name="T4" fmla="*/ 47 w 47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92">
                  <a:moveTo>
                    <a:pt x="29" y="5"/>
                  </a:moveTo>
                  <a:cubicBezTo>
                    <a:pt x="29" y="5"/>
                    <a:pt x="0" y="0"/>
                    <a:pt x="10" y="43"/>
                  </a:cubicBezTo>
                  <a:cubicBezTo>
                    <a:pt x="21" y="87"/>
                    <a:pt x="47" y="92"/>
                    <a:pt x="47" y="9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3" name="Freeform 38"/>
            <p:cNvSpPr>
              <a:spLocks/>
            </p:cNvSpPr>
            <p:nvPr/>
          </p:nvSpPr>
          <p:spPr bwMode="auto">
            <a:xfrm>
              <a:off x="7392" y="663"/>
              <a:ext cx="30" cy="28"/>
            </a:xfrm>
            <a:custGeom>
              <a:avLst/>
              <a:gdLst>
                <a:gd name="T0" fmla="*/ 0 w 133"/>
                <a:gd name="T1" fmla="*/ 61 h 122"/>
                <a:gd name="T2" fmla="*/ 62 w 133"/>
                <a:gd name="T3" fmla="*/ 0 h 122"/>
                <a:gd name="T4" fmla="*/ 133 w 133"/>
                <a:gd name="T5" fmla="*/ 42 h 122"/>
                <a:gd name="T6" fmla="*/ 61 w 133"/>
                <a:gd name="T7" fmla="*/ 114 h 122"/>
                <a:gd name="T8" fmla="*/ 35 w 133"/>
                <a:gd name="T9" fmla="*/ 111 h 122"/>
                <a:gd name="T10" fmla="*/ 0 w 133"/>
                <a:gd name="T11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22">
                  <a:moveTo>
                    <a:pt x="0" y="61"/>
                  </a:moveTo>
                  <a:cubicBezTo>
                    <a:pt x="0" y="61"/>
                    <a:pt x="51" y="43"/>
                    <a:pt x="62" y="0"/>
                  </a:cubicBezTo>
                  <a:lnTo>
                    <a:pt x="133" y="42"/>
                  </a:lnTo>
                  <a:lnTo>
                    <a:pt x="61" y="114"/>
                  </a:lnTo>
                  <a:cubicBezTo>
                    <a:pt x="53" y="122"/>
                    <a:pt x="41" y="120"/>
                    <a:pt x="35" y="111"/>
                  </a:cubicBezTo>
                  <a:lnTo>
                    <a:pt x="0" y="61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4" name="Freeform 39"/>
            <p:cNvSpPr>
              <a:spLocks/>
            </p:cNvSpPr>
            <p:nvPr/>
          </p:nvSpPr>
          <p:spPr bwMode="auto">
            <a:xfrm>
              <a:off x="7361" y="663"/>
              <a:ext cx="31" cy="28"/>
            </a:xfrm>
            <a:custGeom>
              <a:avLst/>
              <a:gdLst>
                <a:gd name="T0" fmla="*/ 136 w 136"/>
                <a:gd name="T1" fmla="*/ 61 h 121"/>
                <a:gd name="T2" fmla="*/ 71 w 136"/>
                <a:gd name="T3" fmla="*/ 0 h 121"/>
                <a:gd name="T4" fmla="*/ 0 w 136"/>
                <a:gd name="T5" fmla="*/ 41 h 121"/>
                <a:gd name="T6" fmla="*/ 71 w 136"/>
                <a:gd name="T7" fmla="*/ 114 h 121"/>
                <a:gd name="T8" fmla="*/ 97 w 136"/>
                <a:gd name="T9" fmla="*/ 111 h 121"/>
                <a:gd name="T10" fmla="*/ 136 w 136"/>
                <a:gd name="T11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121">
                  <a:moveTo>
                    <a:pt x="136" y="61"/>
                  </a:moveTo>
                  <a:cubicBezTo>
                    <a:pt x="136" y="61"/>
                    <a:pt x="83" y="43"/>
                    <a:pt x="71" y="0"/>
                  </a:cubicBezTo>
                  <a:lnTo>
                    <a:pt x="0" y="41"/>
                  </a:lnTo>
                  <a:lnTo>
                    <a:pt x="71" y="114"/>
                  </a:lnTo>
                  <a:cubicBezTo>
                    <a:pt x="79" y="121"/>
                    <a:pt x="91" y="120"/>
                    <a:pt x="97" y="111"/>
                  </a:cubicBezTo>
                  <a:lnTo>
                    <a:pt x="136" y="61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5" name="Freeform 40"/>
            <p:cNvSpPr>
              <a:spLocks/>
            </p:cNvSpPr>
            <p:nvPr/>
          </p:nvSpPr>
          <p:spPr bwMode="auto">
            <a:xfrm>
              <a:off x="7404" y="658"/>
              <a:ext cx="26" cy="19"/>
            </a:xfrm>
            <a:custGeom>
              <a:avLst/>
              <a:gdLst>
                <a:gd name="T0" fmla="*/ 0 w 116"/>
                <a:gd name="T1" fmla="*/ 0 h 83"/>
                <a:gd name="T2" fmla="*/ 15 w 116"/>
                <a:gd name="T3" fmla="*/ 24 h 83"/>
                <a:gd name="T4" fmla="*/ 116 w 116"/>
                <a:gd name="T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" h="83">
                  <a:moveTo>
                    <a:pt x="0" y="0"/>
                  </a:moveTo>
                  <a:cubicBezTo>
                    <a:pt x="4" y="9"/>
                    <a:pt x="9" y="17"/>
                    <a:pt x="15" y="24"/>
                  </a:cubicBezTo>
                  <a:cubicBezTo>
                    <a:pt x="47" y="45"/>
                    <a:pt x="81" y="65"/>
                    <a:pt x="116" y="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6" name="Freeform 41"/>
            <p:cNvSpPr>
              <a:spLocks/>
            </p:cNvSpPr>
            <p:nvPr/>
          </p:nvSpPr>
          <p:spPr bwMode="auto">
            <a:xfrm>
              <a:off x="7340" y="657"/>
              <a:ext cx="40" cy="32"/>
            </a:xfrm>
            <a:custGeom>
              <a:avLst/>
              <a:gdLst>
                <a:gd name="T0" fmla="*/ 177 w 177"/>
                <a:gd name="T1" fmla="*/ 0 h 141"/>
                <a:gd name="T2" fmla="*/ 166 w 177"/>
                <a:gd name="T3" fmla="*/ 27 h 141"/>
                <a:gd name="T4" fmla="*/ 61 w 177"/>
                <a:gd name="T5" fmla="*/ 86 h 141"/>
                <a:gd name="T6" fmla="*/ 0 w 177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7" h="141">
                  <a:moveTo>
                    <a:pt x="177" y="0"/>
                  </a:moveTo>
                  <a:cubicBezTo>
                    <a:pt x="177" y="0"/>
                    <a:pt x="173" y="23"/>
                    <a:pt x="166" y="27"/>
                  </a:cubicBezTo>
                  <a:cubicBezTo>
                    <a:pt x="147" y="39"/>
                    <a:pt x="105" y="64"/>
                    <a:pt x="61" y="86"/>
                  </a:cubicBezTo>
                  <a:cubicBezTo>
                    <a:pt x="36" y="98"/>
                    <a:pt x="15" y="117"/>
                    <a:pt x="0" y="14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7" name="Freeform 42"/>
            <p:cNvSpPr>
              <a:spLocks/>
            </p:cNvSpPr>
            <p:nvPr/>
          </p:nvSpPr>
          <p:spPr bwMode="auto">
            <a:xfrm>
              <a:off x="7362" y="577"/>
              <a:ext cx="51" cy="31"/>
            </a:xfrm>
            <a:custGeom>
              <a:avLst/>
              <a:gdLst>
                <a:gd name="T0" fmla="*/ 177 w 227"/>
                <a:gd name="T1" fmla="*/ 133 h 137"/>
                <a:gd name="T2" fmla="*/ 220 w 227"/>
                <a:gd name="T3" fmla="*/ 110 h 137"/>
                <a:gd name="T4" fmla="*/ 188 w 227"/>
                <a:gd name="T5" fmla="*/ 38 h 137"/>
                <a:gd name="T6" fmla="*/ 60 w 227"/>
                <a:gd name="T7" fmla="*/ 0 h 137"/>
                <a:gd name="T8" fmla="*/ 81 w 227"/>
                <a:gd name="T9" fmla="*/ 39 h 137"/>
                <a:gd name="T10" fmla="*/ 27 w 227"/>
                <a:gd name="T11" fmla="*/ 29 h 137"/>
                <a:gd name="T12" fmla="*/ 0 w 227"/>
                <a:gd name="T13" fmla="*/ 20 h 137"/>
                <a:gd name="T14" fmla="*/ 63 w 227"/>
                <a:gd name="T15" fmla="*/ 127 h 137"/>
                <a:gd name="T16" fmla="*/ 152 w 227"/>
                <a:gd name="T17" fmla="*/ 13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7" h="137">
                  <a:moveTo>
                    <a:pt x="177" y="133"/>
                  </a:moveTo>
                  <a:cubicBezTo>
                    <a:pt x="200" y="129"/>
                    <a:pt x="217" y="121"/>
                    <a:pt x="220" y="110"/>
                  </a:cubicBezTo>
                  <a:cubicBezTo>
                    <a:pt x="227" y="83"/>
                    <a:pt x="223" y="51"/>
                    <a:pt x="188" y="38"/>
                  </a:cubicBezTo>
                  <a:cubicBezTo>
                    <a:pt x="153" y="25"/>
                    <a:pt x="70" y="12"/>
                    <a:pt x="60" y="0"/>
                  </a:cubicBezTo>
                  <a:cubicBezTo>
                    <a:pt x="60" y="0"/>
                    <a:pt x="61" y="31"/>
                    <a:pt x="81" y="39"/>
                  </a:cubicBezTo>
                  <a:cubicBezTo>
                    <a:pt x="63" y="33"/>
                    <a:pt x="45" y="29"/>
                    <a:pt x="27" y="29"/>
                  </a:cubicBezTo>
                  <a:cubicBezTo>
                    <a:pt x="17" y="30"/>
                    <a:pt x="7" y="27"/>
                    <a:pt x="0" y="20"/>
                  </a:cubicBezTo>
                  <a:cubicBezTo>
                    <a:pt x="0" y="20"/>
                    <a:pt x="2" y="112"/>
                    <a:pt x="63" y="127"/>
                  </a:cubicBezTo>
                  <a:cubicBezTo>
                    <a:pt x="92" y="134"/>
                    <a:pt x="122" y="137"/>
                    <a:pt x="152" y="13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8" name="Freeform 43"/>
            <p:cNvSpPr>
              <a:spLocks/>
            </p:cNvSpPr>
            <p:nvPr/>
          </p:nvSpPr>
          <p:spPr bwMode="auto">
            <a:xfrm>
              <a:off x="7407" y="606"/>
              <a:ext cx="12" cy="20"/>
            </a:xfrm>
            <a:custGeom>
              <a:avLst/>
              <a:gdLst>
                <a:gd name="T0" fmla="*/ 0 w 55"/>
                <a:gd name="T1" fmla="*/ 0 h 90"/>
                <a:gd name="T2" fmla="*/ 55 w 55"/>
                <a:gd name="T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90">
                  <a:moveTo>
                    <a:pt x="0" y="0"/>
                  </a:moveTo>
                  <a:cubicBezTo>
                    <a:pt x="0" y="0"/>
                    <a:pt x="17" y="60"/>
                    <a:pt x="55" y="9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9" name="Freeform 44"/>
            <p:cNvSpPr>
              <a:spLocks/>
            </p:cNvSpPr>
            <p:nvPr/>
          </p:nvSpPr>
          <p:spPr bwMode="auto">
            <a:xfrm>
              <a:off x="7364" y="603"/>
              <a:ext cx="5" cy="21"/>
            </a:xfrm>
            <a:custGeom>
              <a:avLst/>
              <a:gdLst>
                <a:gd name="T0" fmla="*/ 0 w 21"/>
                <a:gd name="T1" fmla="*/ 95 h 95"/>
                <a:gd name="T2" fmla="*/ 21 w 21"/>
                <a:gd name="T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5">
                  <a:moveTo>
                    <a:pt x="0" y="95"/>
                  </a:moveTo>
                  <a:cubicBezTo>
                    <a:pt x="9" y="64"/>
                    <a:pt x="17" y="32"/>
                    <a:pt x="2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0" name="Freeform 45"/>
            <p:cNvSpPr>
              <a:spLocks/>
            </p:cNvSpPr>
            <p:nvPr/>
          </p:nvSpPr>
          <p:spPr bwMode="auto">
            <a:xfrm>
              <a:off x="7411" y="591"/>
              <a:ext cx="12" cy="24"/>
            </a:xfrm>
            <a:custGeom>
              <a:avLst/>
              <a:gdLst>
                <a:gd name="T0" fmla="*/ 0 w 51"/>
                <a:gd name="T1" fmla="*/ 0 h 107"/>
                <a:gd name="T2" fmla="*/ 39 w 51"/>
                <a:gd name="T3" fmla="*/ 36 h 107"/>
                <a:gd name="T4" fmla="*/ 47 w 51"/>
                <a:gd name="T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107">
                  <a:moveTo>
                    <a:pt x="0" y="0"/>
                  </a:moveTo>
                  <a:cubicBezTo>
                    <a:pt x="17" y="7"/>
                    <a:pt x="31" y="20"/>
                    <a:pt x="39" y="36"/>
                  </a:cubicBezTo>
                  <a:cubicBezTo>
                    <a:pt x="48" y="58"/>
                    <a:pt x="51" y="83"/>
                    <a:pt x="47" y="10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1" name="Line 46"/>
            <p:cNvSpPr>
              <a:spLocks noChangeShapeType="1"/>
            </p:cNvSpPr>
            <p:nvPr/>
          </p:nvSpPr>
          <p:spPr bwMode="auto">
            <a:xfrm>
              <a:off x="7394" y="689"/>
              <a:ext cx="0" cy="5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2" name="Oval 47"/>
            <p:cNvSpPr>
              <a:spLocks noChangeArrowheads="1"/>
            </p:cNvSpPr>
            <p:nvPr/>
          </p:nvSpPr>
          <p:spPr bwMode="auto">
            <a:xfrm>
              <a:off x="7388" y="692"/>
              <a:ext cx="3" cy="3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3" name="Oval 48"/>
            <p:cNvSpPr>
              <a:spLocks noChangeArrowheads="1"/>
            </p:cNvSpPr>
            <p:nvPr/>
          </p:nvSpPr>
          <p:spPr bwMode="auto">
            <a:xfrm>
              <a:off x="7388" y="700"/>
              <a:ext cx="3" cy="3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76" name="Group 143"/>
          <p:cNvGrpSpPr>
            <a:grpSpLocks noChangeAspect="1"/>
          </p:cNvGrpSpPr>
          <p:nvPr/>
        </p:nvGrpSpPr>
        <p:grpSpPr bwMode="auto">
          <a:xfrm>
            <a:off x="2260752" y="4066807"/>
            <a:ext cx="420997" cy="427899"/>
            <a:chOff x="5310" y="1441"/>
            <a:chExt cx="427" cy="434"/>
          </a:xfrm>
          <a:noFill/>
        </p:grpSpPr>
        <p:sp>
          <p:nvSpPr>
            <p:cNvPr id="977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8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9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0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1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2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3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4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5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6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7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8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9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0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1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2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3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4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5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6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7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8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9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0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1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2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3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4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5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6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7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8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09" name="Group 285"/>
          <p:cNvGrpSpPr>
            <a:grpSpLocks noChangeAspect="1"/>
          </p:cNvGrpSpPr>
          <p:nvPr/>
        </p:nvGrpSpPr>
        <p:grpSpPr bwMode="auto">
          <a:xfrm>
            <a:off x="3536765" y="4056918"/>
            <a:ext cx="417174" cy="424013"/>
            <a:chOff x="1698" y="1441"/>
            <a:chExt cx="427" cy="434"/>
          </a:xfrm>
          <a:noFill/>
        </p:grpSpPr>
        <p:sp>
          <p:nvSpPr>
            <p:cNvPr id="1010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1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2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3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4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5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6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7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8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9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0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1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2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3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4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5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6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7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9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1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3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5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6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7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8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9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0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41" name="TextBox 1040"/>
          <p:cNvSpPr txBox="1"/>
          <p:nvPr/>
        </p:nvSpPr>
        <p:spPr>
          <a:xfrm>
            <a:off x="2098669" y="4602951"/>
            <a:ext cx="8499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1042" name="TextBox 1041"/>
          <p:cNvSpPr txBox="1"/>
          <p:nvPr/>
        </p:nvSpPr>
        <p:spPr>
          <a:xfrm>
            <a:off x="3354060" y="4596956"/>
            <a:ext cx="7825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1043" name="Rectangle 1042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1006679" y="3703710"/>
            <a:ext cx="2054519" cy="1670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sp>
        <p:nvSpPr>
          <p:cNvPr id="1044" name="Rectangle 1043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3096443" y="3703709"/>
            <a:ext cx="1325490" cy="16706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1045" name="TextBox 1044"/>
          <p:cNvSpPr txBox="1"/>
          <p:nvPr/>
        </p:nvSpPr>
        <p:spPr>
          <a:xfrm>
            <a:off x="2292454" y="2648938"/>
            <a:ext cx="15888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DG Coordination Group</a:t>
            </a: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829507" y="2187882"/>
            <a:ext cx="1367777" cy="146367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 1</a:t>
            </a:r>
          </a:p>
        </p:txBody>
      </p:sp>
      <p:sp>
        <p:nvSpPr>
          <p:cNvPr id="1047" name="Rectangle 1046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2393950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48" name="Rectangle 1047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2587506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49" name="Rectangle 1048"/>
          <p:cNvSpPr/>
          <p:nvPr/>
        </p:nvSpPr>
        <p:spPr>
          <a:xfrm>
            <a:off x="6028271" y="1753981"/>
            <a:ext cx="2921933" cy="1821410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0" name="Rectangle 1049"/>
          <p:cNvSpPr/>
          <p:nvPr/>
        </p:nvSpPr>
        <p:spPr>
          <a:xfrm>
            <a:off x="6028272" y="3847743"/>
            <a:ext cx="2921933" cy="1821410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829507" y="2889869"/>
            <a:ext cx="1367777" cy="146367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 2</a:t>
            </a:r>
          </a:p>
        </p:txBody>
      </p:sp>
      <p:sp>
        <p:nvSpPr>
          <p:cNvPr id="1052" name="Rectangle 1051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3095937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53" name="Rectangle 1052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3289493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829507" y="4298551"/>
            <a:ext cx="1367777" cy="146367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 1</a:t>
            </a: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4504619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4698175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829507" y="5000538"/>
            <a:ext cx="1367777" cy="146367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 2</a:t>
            </a: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5206606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CC874201-C4C3-46BE-A14A-7A0831CDBC29}"/>
              </a:ext>
            </a:extLst>
          </p:cNvPr>
          <p:cNvSpPr/>
          <p:nvPr/>
        </p:nvSpPr>
        <p:spPr bwMode="auto">
          <a:xfrm>
            <a:off x="7322190" y="5400162"/>
            <a:ext cx="410751" cy="158869"/>
          </a:xfrm>
          <a:prstGeom prst="rect">
            <a:avLst/>
          </a:prstGeom>
          <a:solidFill>
            <a:srgbClr val="91E2CB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</a:t>
            </a:r>
          </a:p>
        </p:txBody>
      </p:sp>
      <p:sp>
        <p:nvSpPr>
          <p:cNvPr id="1060" name="Curved Left Arrow 1059"/>
          <p:cNvSpPr/>
          <p:nvPr/>
        </p:nvSpPr>
        <p:spPr>
          <a:xfrm>
            <a:off x="8807318" y="2049801"/>
            <a:ext cx="324757" cy="2171643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1" name="Curved Left Arrow 1060"/>
          <p:cNvSpPr/>
          <p:nvPr/>
        </p:nvSpPr>
        <p:spPr>
          <a:xfrm>
            <a:off x="8300100" y="2224837"/>
            <a:ext cx="170558" cy="811399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2" name="Curved Left Arrow 1061"/>
          <p:cNvSpPr/>
          <p:nvPr/>
        </p:nvSpPr>
        <p:spPr>
          <a:xfrm>
            <a:off x="8334144" y="4323746"/>
            <a:ext cx="170558" cy="811399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3" name="Curved Left Arrow 1062"/>
          <p:cNvSpPr/>
          <p:nvPr/>
        </p:nvSpPr>
        <p:spPr>
          <a:xfrm rot="10800000">
            <a:off x="5887950" y="2011634"/>
            <a:ext cx="261838" cy="2098917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4" name="Curved Left Arrow 1063"/>
          <p:cNvSpPr/>
          <p:nvPr/>
        </p:nvSpPr>
        <p:spPr>
          <a:xfrm rot="10800000">
            <a:off x="6545409" y="2224837"/>
            <a:ext cx="182763" cy="806297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5" name="Curved Left Arrow 1064"/>
          <p:cNvSpPr/>
          <p:nvPr/>
        </p:nvSpPr>
        <p:spPr>
          <a:xfrm rot="10800000">
            <a:off x="6518872" y="4340608"/>
            <a:ext cx="182763" cy="806297"/>
          </a:xfrm>
          <a:prstGeom prst="curvedLeftArrow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66" name="Straight Connector 1065"/>
          <p:cNvCxnSpPr/>
          <p:nvPr/>
        </p:nvCxnSpPr>
        <p:spPr>
          <a:xfrm>
            <a:off x="8738356" y="4122887"/>
            <a:ext cx="572655" cy="566846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67" name="Straight Connector 1066"/>
          <p:cNvCxnSpPr/>
          <p:nvPr/>
        </p:nvCxnSpPr>
        <p:spPr>
          <a:xfrm>
            <a:off x="8738356" y="4122886"/>
            <a:ext cx="578807" cy="791364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68" name="Rectangle 1067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9301867" y="4616549"/>
            <a:ext cx="1367777" cy="14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 representatives</a:t>
            </a:r>
          </a:p>
        </p:txBody>
      </p:sp>
      <p:sp>
        <p:nvSpPr>
          <p:cNvPr id="1069" name="Rectangle 1068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9308019" y="4841066"/>
            <a:ext cx="1367777" cy="14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 representatives</a:t>
            </a:r>
          </a:p>
        </p:txBody>
      </p:sp>
      <p:cxnSp>
        <p:nvCxnSpPr>
          <p:cNvPr id="1070" name="Straight Connector 1069"/>
          <p:cNvCxnSpPr>
            <a:endCxn id="1072" idx="1"/>
          </p:cNvCxnSpPr>
          <p:nvPr/>
        </p:nvCxnSpPr>
        <p:spPr>
          <a:xfrm flipV="1">
            <a:off x="8735989" y="1373231"/>
            <a:ext cx="529087" cy="625038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71" name="Straight Connector 1070"/>
          <p:cNvCxnSpPr>
            <a:endCxn id="1073" idx="1"/>
          </p:cNvCxnSpPr>
          <p:nvPr/>
        </p:nvCxnSpPr>
        <p:spPr>
          <a:xfrm flipV="1">
            <a:off x="8735989" y="1597748"/>
            <a:ext cx="535239" cy="40052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72" name="Rectangle 1071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9265076" y="1300047"/>
            <a:ext cx="1367777" cy="14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 representatives</a:t>
            </a:r>
          </a:p>
        </p:txBody>
      </p:sp>
      <p:sp>
        <p:nvSpPr>
          <p:cNvPr id="1073" name="Rectangle 1072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9271228" y="1524564"/>
            <a:ext cx="1367777" cy="146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 representatives</a:t>
            </a:r>
          </a:p>
        </p:txBody>
      </p:sp>
      <p:sp>
        <p:nvSpPr>
          <p:cNvPr id="1074" name="Rectangle 1073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288429" y="1893117"/>
            <a:ext cx="2455609" cy="2176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 1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288429" y="4003786"/>
            <a:ext cx="2455609" cy="2176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Package 2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839788" y="1036850"/>
            <a:ext cx="10514012" cy="258055"/>
          </a:xfrm>
        </p:spPr>
        <p:txBody>
          <a:bodyPr>
            <a:normAutofit/>
          </a:bodyPr>
          <a:lstStyle/>
          <a:p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Work Packages will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sed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EC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S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resentatives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719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0760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50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330663"/>
              </p:ext>
            </p:extLst>
          </p:nvPr>
        </p:nvGraphicFramePr>
        <p:xfrm>
          <a:off x="845636" y="1443596"/>
          <a:ext cx="10575740" cy="427070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22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14294057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670186481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048273574"/>
                    </a:ext>
                  </a:extLst>
                </a:gridCol>
              </a:tblGrid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Phase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 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9819108"/>
                  </a:ext>
                </a:extLst>
              </a:tr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Month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il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e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gust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ember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ember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ember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Day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068">
                <a:tc gridSpan="2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NTS: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639535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G Coordination Group meeting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089056"/>
                  </a:ext>
                </a:extLst>
              </a:tr>
              <a:tr h="185068">
                <a:tc gridSpan="2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PACKAGES &amp; TOPICS: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706269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Centric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920205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User Journey Mapping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8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hnical Design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140022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OOP Technical System Architecture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Central Systems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Links to </a:t>
                      </a: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U </a:t>
                      </a: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s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7166621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ctional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242966"/>
                  </a:ext>
                </a:extLst>
              </a:tr>
              <a:tr h="245305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en-GB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Identification, Authentication and Record Matching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Evidence Exchange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465344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emantics, Formats &amp; Qual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6165250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Methodology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4254386"/>
                  </a:ext>
                </a:extLst>
              </a:tr>
              <a:tr h="185068">
                <a:tc gridSpan="2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RGE SCALE PILOTS: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513855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O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5966266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4A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570987"/>
                  </a:ext>
                </a:extLst>
              </a:tr>
              <a:tr h="490610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Study and analysis on the readiness of MSs to connect to and exchange data in accordance with Art 14 of the SDG and the Once-Only Technical Infrastructure”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9196599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-level timeline of Phase 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213811" y="6277520"/>
            <a:ext cx="701038" cy="4861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9" name="Rectangle 256"/>
          <p:cNvSpPr>
            <a:spLocks noChangeArrowheads="1"/>
          </p:cNvSpPr>
          <p:nvPr/>
        </p:nvSpPr>
        <p:spPr bwMode="gray">
          <a:xfrm rot="2700000">
            <a:off x="6150252" y="2204407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4800000" y="2774347"/>
            <a:ext cx="1692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30" name="Rectangle 256"/>
          <p:cNvSpPr>
            <a:spLocks noChangeArrowheads="1"/>
          </p:cNvSpPr>
          <p:nvPr/>
        </p:nvSpPr>
        <p:spPr bwMode="gray">
          <a:xfrm rot="2700000">
            <a:off x="6437999" y="2755986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5002661" y="3925967"/>
            <a:ext cx="392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38" name="Rectangle 256"/>
          <p:cNvSpPr>
            <a:spLocks noChangeArrowheads="1"/>
          </p:cNvSpPr>
          <p:nvPr/>
        </p:nvSpPr>
        <p:spPr bwMode="gray">
          <a:xfrm rot="2700000">
            <a:off x="8860750" y="3906949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5398661" y="4506654"/>
            <a:ext cx="3528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42" name="Rectangle 256"/>
          <p:cNvSpPr>
            <a:spLocks noChangeArrowheads="1"/>
          </p:cNvSpPr>
          <p:nvPr/>
        </p:nvSpPr>
        <p:spPr bwMode="gray">
          <a:xfrm rot="2700000">
            <a:off x="8870549" y="4488655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7" name="Rectangle 11"/>
          <p:cNvSpPr>
            <a:spLocks noChangeArrowheads="1"/>
          </p:cNvSpPr>
          <p:nvPr/>
        </p:nvSpPr>
        <p:spPr bwMode="auto">
          <a:xfrm>
            <a:off x="3381740" y="4888173"/>
            <a:ext cx="4932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>
              <a:lnSpc>
                <a:spcPct val="75000"/>
              </a:lnSpc>
            </a:pPr>
            <a:endParaRPr lang="en-US" altLang="ja-JP" sz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48" name="Rectangle 256"/>
          <p:cNvSpPr>
            <a:spLocks noChangeArrowheads="1"/>
          </p:cNvSpPr>
          <p:nvPr/>
        </p:nvSpPr>
        <p:spPr bwMode="gray">
          <a:xfrm rot="2700000">
            <a:off x="8290886" y="4870173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8006994" y="865920"/>
            <a:ext cx="2042220" cy="5472000"/>
            <a:chOff x="10337678" y="1411511"/>
            <a:chExt cx="2042220" cy="4597072"/>
          </a:xfrm>
        </p:grpSpPr>
        <p:sp>
          <p:nvSpPr>
            <p:cNvPr id="51" name="TextBox 50"/>
            <p:cNvSpPr txBox="1"/>
            <p:nvPr/>
          </p:nvSpPr>
          <p:spPr>
            <a:xfrm>
              <a:off x="10337678" y="1411511"/>
              <a:ext cx="2042220" cy="18438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52" name="Straight Connector 51"/>
            <p:cNvCxnSpPr/>
            <p:nvPr/>
          </p:nvCxnSpPr>
          <p:spPr>
            <a:xfrm flipV="1">
              <a:off x="11339513" y="1649888"/>
              <a:ext cx="1" cy="4358695"/>
            </a:xfrm>
            <a:prstGeom prst="line">
              <a:avLst/>
            </a:prstGeom>
            <a:ln cmpd="dbl">
              <a:solidFill>
                <a:srgbClr val="C0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63" name="Rectangle 11"/>
          <p:cNvSpPr>
            <a:spLocks noChangeArrowheads="1"/>
          </p:cNvSpPr>
          <p:nvPr/>
        </p:nvSpPr>
        <p:spPr bwMode="auto">
          <a:xfrm>
            <a:off x="1102533" y="6069379"/>
            <a:ext cx="576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4" name="Rectangle 256"/>
          <p:cNvSpPr>
            <a:spLocks noChangeArrowheads="1"/>
          </p:cNvSpPr>
          <p:nvPr/>
        </p:nvSpPr>
        <p:spPr bwMode="gray">
          <a:xfrm rot="2700000">
            <a:off x="2780973" y="6051584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61249" y="5994114"/>
            <a:ext cx="9678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progress</a:t>
            </a: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911341" y="5994744"/>
            <a:ext cx="8582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</a:t>
            </a: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38200" y="5976862"/>
            <a:ext cx="3060940" cy="247619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EC Square Sans Pro" panose="020B05060400000200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026081" y="1345078"/>
            <a:ext cx="2824534" cy="4692764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auto">
          <a:xfrm>
            <a:off x="4800000" y="3148407"/>
            <a:ext cx="590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32" name="Rectangle 256"/>
          <p:cNvSpPr>
            <a:spLocks noChangeArrowheads="1"/>
          </p:cNvSpPr>
          <p:nvPr/>
        </p:nvSpPr>
        <p:spPr bwMode="gray">
          <a:xfrm rot="2700000">
            <a:off x="10675470" y="3130238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39" name="Rectangle 11"/>
          <p:cNvSpPr>
            <a:spLocks noChangeArrowheads="1"/>
          </p:cNvSpPr>
          <p:nvPr/>
        </p:nvSpPr>
        <p:spPr bwMode="auto">
          <a:xfrm>
            <a:off x="4804935" y="4141561"/>
            <a:ext cx="590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40" name="Rectangle 256"/>
          <p:cNvSpPr>
            <a:spLocks noChangeArrowheads="1"/>
          </p:cNvSpPr>
          <p:nvPr/>
        </p:nvSpPr>
        <p:spPr bwMode="gray">
          <a:xfrm rot="2700000">
            <a:off x="10681363" y="4122103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6" name="Rectangle 11"/>
          <p:cNvSpPr>
            <a:spLocks noChangeArrowheads="1"/>
          </p:cNvSpPr>
          <p:nvPr/>
        </p:nvSpPr>
        <p:spPr bwMode="auto">
          <a:xfrm>
            <a:off x="3381740" y="5061020"/>
            <a:ext cx="8280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>
              <a:lnSpc>
                <a:spcPct val="75000"/>
              </a:lnSpc>
            </a:pPr>
            <a:endParaRPr lang="en-US" altLang="ja-JP" sz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7" name="Rectangle 11"/>
          <p:cNvSpPr>
            <a:spLocks noChangeArrowheads="1"/>
          </p:cNvSpPr>
          <p:nvPr/>
        </p:nvSpPr>
        <p:spPr bwMode="auto">
          <a:xfrm>
            <a:off x="4561852" y="5422092"/>
            <a:ext cx="5472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>
              <a:lnSpc>
                <a:spcPct val="75000"/>
              </a:lnSpc>
            </a:pPr>
            <a:endParaRPr lang="en-US" altLang="ja-JP" sz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8" name="Rectangle 256"/>
          <p:cNvSpPr>
            <a:spLocks noChangeArrowheads="1"/>
          </p:cNvSpPr>
          <p:nvPr/>
        </p:nvSpPr>
        <p:spPr bwMode="gray">
          <a:xfrm rot="2700000">
            <a:off x="9972402" y="5407852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9" name="Rectangle 11"/>
          <p:cNvSpPr>
            <a:spLocks noChangeArrowheads="1"/>
          </p:cNvSpPr>
          <p:nvPr/>
        </p:nvSpPr>
        <p:spPr bwMode="auto">
          <a:xfrm>
            <a:off x="4800000" y="3327481"/>
            <a:ext cx="590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0" name="Rectangle 256"/>
          <p:cNvSpPr>
            <a:spLocks noChangeArrowheads="1"/>
          </p:cNvSpPr>
          <p:nvPr/>
        </p:nvSpPr>
        <p:spPr bwMode="gray">
          <a:xfrm rot="2700000">
            <a:off x="10675470" y="3309312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61" name="Rectangle 11"/>
          <p:cNvSpPr>
            <a:spLocks noChangeArrowheads="1"/>
          </p:cNvSpPr>
          <p:nvPr/>
        </p:nvSpPr>
        <p:spPr bwMode="auto">
          <a:xfrm>
            <a:off x="4800000" y="3506773"/>
            <a:ext cx="590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2" name="Rectangle 256"/>
          <p:cNvSpPr>
            <a:spLocks noChangeArrowheads="1"/>
          </p:cNvSpPr>
          <p:nvPr/>
        </p:nvSpPr>
        <p:spPr bwMode="gray">
          <a:xfrm rot="2700000">
            <a:off x="10675470" y="3488604"/>
            <a:ext cx="108000" cy="10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930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19188" y="3607143"/>
            <a:ext cx="8499597" cy="602194"/>
          </a:xfrm>
        </p:spPr>
        <p:txBody>
          <a:bodyPr/>
          <a:lstStyle/>
          <a:p>
            <a:r>
              <a:rPr lang="nl-BE" sz="3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Phase 1 Work Packages</a:t>
            </a:r>
            <a:endParaRPr lang="en-GB" sz="3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40968" y="4145774"/>
            <a:ext cx="6059932" cy="235449"/>
          </a:xfrm>
        </p:spPr>
        <p:txBody>
          <a:bodyPr/>
          <a:lstStyle/>
          <a:p>
            <a:r>
              <a:rPr lang="en-GB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s, timelines and expected outputs</a:t>
            </a:r>
            <a:endParaRPr lang="en-GB" sz="2000" b="1" dirty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1119187" y="5043988"/>
            <a:ext cx="7813797" cy="1057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tion: 50 min</a:t>
            </a:r>
          </a:p>
          <a:p>
            <a:r>
              <a:rPr lang="nl-B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ers: Nils MC GRATH (DIGIT), Anders GJOEN (DG CNECT), Pim VAN DER EIJK (DIGIT), Miguel ALVAREZ RODRIGUEZ (DIGIT)</a:t>
            </a: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7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0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4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Centricity Work Package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>
          <a:xfrm>
            <a:off x="839788" y="1588934"/>
            <a:ext cx="9597613" cy="3957846"/>
          </a:xfrm>
        </p:spPr>
        <p:txBody>
          <a:bodyPr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ping the user journey will help us </a:t>
            </a:r>
          </a:p>
          <a:p>
            <a:pPr>
              <a:lnSpc>
                <a:spcPct val="150000"/>
              </a:lnSpc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ild a common understanding of how the system will work, </a:t>
            </a:r>
          </a:p>
          <a:p>
            <a:pPr>
              <a:lnSpc>
                <a:spcPct val="150000"/>
              </a:lnSpc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sure we comply with regulation like GDPR, </a:t>
            </a:r>
          </a:p>
          <a:p>
            <a:pPr>
              <a:lnSpc>
                <a:spcPct val="150000"/>
              </a:lnSpc>
            </a:pPr>
            <a:r>
              <a:rPr lang="en-GB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en-GB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iver a great experience to European citizens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751940" y="6405344"/>
            <a:ext cx="438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Proposed dates and expected of outputs are subject to chan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1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5926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User Journey Mapping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682752" y="2024039"/>
            <a:ext cx="1676729" cy="2866123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6005" y="2353553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Journey Mapping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6844" y="2122948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User Centricity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82" name="TextBox 781"/>
          <p:cNvSpPr txBox="1"/>
          <p:nvPr/>
        </p:nvSpPr>
        <p:spPr>
          <a:xfrm>
            <a:off x="634356" y="4582385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X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1" name="TextBox 180"/>
          <p:cNvSpPr txBox="1"/>
          <p:nvPr/>
        </p:nvSpPr>
        <p:spPr>
          <a:xfrm>
            <a:off x="832625" y="3273258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82" name="Group 285"/>
          <p:cNvGrpSpPr>
            <a:grpSpLocks noChangeAspect="1"/>
          </p:cNvGrpSpPr>
          <p:nvPr/>
        </p:nvGrpSpPr>
        <p:grpSpPr bwMode="auto">
          <a:xfrm>
            <a:off x="964255" y="2883249"/>
            <a:ext cx="417174" cy="424013"/>
            <a:chOff x="1698" y="1441"/>
            <a:chExt cx="427" cy="434"/>
          </a:xfrm>
          <a:noFill/>
        </p:grpSpPr>
        <p:sp>
          <p:nvSpPr>
            <p:cNvPr id="184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1" name="Group 143"/>
          <p:cNvGrpSpPr>
            <a:grpSpLocks noChangeAspect="1"/>
          </p:cNvGrpSpPr>
          <p:nvPr/>
        </p:nvGrpSpPr>
        <p:grpSpPr bwMode="auto">
          <a:xfrm>
            <a:off x="1705787" y="2877180"/>
            <a:ext cx="420997" cy="427899"/>
            <a:chOff x="5310" y="1441"/>
            <a:chExt cx="427" cy="434"/>
          </a:xfrm>
          <a:noFill/>
        </p:grpSpPr>
        <p:sp>
          <p:nvSpPr>
            <p:cNvPr id="233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5" name="TextBox 264"/>
          <p:cNvSpPr txBox="1"/>
          <p:nvPr/>
        </p:nvSpPr>
        <p:spPr>
          <a:xfrm>
            <a:off x="1586512" y="3275863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9449" y="2650175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67" name="Group 285"/>
          <p:cNvGrpSpPr>
            <a:grpSpLocks noChangeAspect="1"/>
          </p:cNvGrpSpPr>
          <p:nvPr/>
        </p:nvGrpSpPr>
        <p:grpSpPr bwMode="auto">
          <a:xfrm>
            <a:off x="1315971" y="3723076"/>
            <a:ext cx="417174" cy="424013"/>
            <a:chOff x="1698" y="1441"/>
            <a:chExt cx="427" cy="434"/>
          </a:xfrm>
          <a:noFill/>
        </p:grpSpPr>
        <p:sp>
          <p:nvSpPr>
            <p:cNvPr id="268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6" name="TextBox 345"/>
          <p:cNvSpPr txBox="1"/>
          <p:nvPr/>
        </p:nvSpPr>
        <p:spPr>
          <a:xfrm>
            <a:off x="1195842" y="4106664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6557" y="3516764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9074" y="4352976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3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graphicFrame>
        <p:nvGraphicFramePr>
          <p:cNvPr id="133" name="Group 3"/>
          <p:cNvGraphicFramePr>
            <a:graphicFrameLocks noGrp="1"/>
          </p:cNvGraphicFramePr>
          <p:nvPr/>
        </p:nvGraphicFramePr>
        <p:xfrm>
          <a:off x="2696722" y="2040144"/>
          <a:ext cx="8657073" cy="28659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64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399514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110088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1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632804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P Initiation Spac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High level mapping and grouping of procedure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562186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Customer journey mapping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29557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X Principle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Final Repor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17522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4727830"/>
                  </a:ext>
                </a:extLst>
              </a:tr>
            </a:tbl>
          </a:graphicData>
        </a:graphic>
      </p:graphicFrame>
      <p:sp>
        <p:nvSpPr>
          <p:cNvPr id="134" name="Rectangle 11"/>
          <p:cNvSpPr>
            <a:spLocks noChangeArrowheads="1"/>
          </p:cNvSpPr>
          <p:nvPr/>
        </p:nvSpPr>
        <p:spPr bwMode="auto">
          <a:xfrm>
            <a:off x="8947005" y="4467186"/>
            <a:ext cx="987379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35" name="Rectangle 11"/>
          <p:cNvSpPr>
            <a:spLocks noChangeArrowheads="1"/>
          </p:cNvSpPr>
          <p:nvPr/>
        </p:nvSpPr>
        <p:spPr bwMode="auto">
          <a:xfrm>
            <a:off x="8947006" y="4228123"/>
            <a:ext cx="987381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36" name="Rectangle 11"/>
          <p:cNvSpPr>
            <a:spLocks noChangeArrowheads="1"/>
          </p:cNvSpPr>
          <p:nvPr/>
        </p:nvSpPr>
        <p:spPr bwMode="auto">
          <a:xfrm>
            <a:off x="7762447" y="3959656"/>
            <a:ext cx="966268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37" name="Rectangle 11"/>
          <p:cNvSpPr>
            <a:spLocks noChangeArrowheads="1"/>
          </p:cNvSpPr>
          <p:nvPr/>
        </p:nvSpPr>
        <p:spPr bwMode="auto">
          <a:xfrm>
            <a:off x="6538636" y="3696054"/>
            <a:ext cx="988977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9152861" y="1610652"/>
            <a:ext cx="2042220" cy="3492000"/>
            <a:chOff x="10337678" y="1473496"/>
            <a:chExt cx="2042220" cy="9077269"/>
          </a:xfrm>
        </p:grpSpPr>
        <p:sp>
          <p:nvSpPr>
            <p:cNvPr id="139" name="TextBox 138"/>
            <p:cNvSpPr txBox="1"/>
            <p:nvPr/>
          </p:nvSpPr>
          <p:spPr>
            <a:xfrm>
              <a:off x="10337678" y="1473496"/>
              <a:ext cx="2042220" cy="640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uly</a:t>
              </a:r>
            </a:p>
          </p:txBody>
        </p:sp>
        <p:cxnSp>
          <p:nvCxnSpPr>
            <p:cNvPr id="140" name="Straight Connector 139"/>
            <p:cNvCxnSpPr/>
            <p:nvPr/>
          </p:nvCxnSpPr>
          <p:spPr>
            <a:xfrm flipV="1">
              <a:off x="11339513" y="2318444"/>
              <a:ext cx="1" cy="8232321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Rectangle 140"/>
          <p:cNvSpPr/>
          <p:nvPr/>
        </p:nvSpPr>
        <p:spPr>
          <a:xfrm>
            <a:off x="6278824" y="3144695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/0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6278824" y="3412341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/0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7148672" y="4688905"/>
            <a:ext cx="360000" cy="14859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1</a:t>
            </a:r>
            <a:endParaRPr kumimoji="0" lang="en-GB" sz="7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7467232" y="3652350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8612536" y="392365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/0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9701499" y="4167527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/0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9701499" y="4435762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/0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8180031" y="4696369"/>
            <a:ext cx="360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2</a:t>
            </a:r>
            <a:endParaRPr kumimoji="0" lang="en-GB" sz="7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9400961" y="4693443"/>
            <a:ext cx="360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3</a:t>
            </a:r>
            <a:endParaRPr kumimoji="0" lang="en-GB" sz="7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562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3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und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les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or the live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inar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Box 11"/>
          <p:cNvSpPr txBox="1"/>
          <p:nvPr/>
        </p:nvSpPr>
        <p:spPr>
          <a:xfrm>
            <a:off x="1585105" y="1817167"/>
            <a:ext cx="9282021" cy="386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“Connect audio” to hear the presenters but please mute your mic when you are not speaking.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questions and comments via </a:t>
            </a:r>
            <a:r>
              <a:rPr lang="en-GB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timeter</a:t>
            </a: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please go to: </a:t>
            </a: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7"/>
              </a:rPr>
              <a:t>www.menti.com</a:t>
            </a: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enter the following code</a:t>
            </a:r>
            <a:r>
              <a:rPr lang="en-GB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33 08 91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mit your questions in writing to CEF Technical Support (privately) by using the WebEx chat function. We will answer the questions live during the webinar. 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ase let us know if you object to the webinar being recorded, we intend to post it on the SDG group so we can share it with MS stakeholders.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739150" y="2033177"/>
            <a:ext cx="936000" cy="589845"/>
            <a:chOff x="5075184" y="1563638"/>
            <a:chExt cx="437774" cy="323359"/>
          </a:xfrm>
        </p:grpSpPr>
        <p:grpSp>
          <p:nvGrpSpPr>
            <p:cNvPr id="39" name="Group 38"/>
            <p:cNvGrpSpPr/>
            <p:nvPr/>
          </p:nvGrpSpPr>
          <p:grpSpPr>
            <a:xfrm>
              <a:off x="5220072" y="1563638"/>
              <a:ext cx="139719" cy="323359"/>
              <a:chOff x="11387138" y="3249613"/>
              <a:chExt cx="320675" cy="674687"/>
            </a:xfrm>
            <a:solidFill>
              <a:srgbClr val="FFFFFF"/>
            </a:solidFill>
          </p:grpSpPr>
          <p:sp>
            <p:nvSpPr>
              <p:cNvPr id="41" name="Freeform 639"/>
              <p:cNvSpPr>
                <a:spLocks/>
              </p:cNvSpPr>
              <p:nvPr/>
            </p:nvSpPr>
            <p:spPr bwMode="auto">
              <a:xfrm>
                <a:off x="11430000" y="3840163"/>
                <a:ext cx="234950" cy="84137"/>
              </a:xfrm>
              <a:custGeom>
                <a:avLst/>
                <a:gdLst>
                  <a:gd name="T0" fmla="*/ 79 w 84"/>
                  <a:gd name="T1" fmla="*/ 20 h 30"/>
                  <a:gd name="T2" fmla="*/ 47 w 84"/>
                  <a:gd name="T3" fmla="*/ 20 h 30"/>
                  <a:gd name="T4" fmla="*/ 47 w 84"/>
                  <a:gd name="T5" fmla="*/ 4 h 30"/>
                  <a:gd name="T6" fmla="*/ 42 w 84"/>
                  <a:gd name="T7" fmla="*/ 0 h 30"/>
                  <a:gd name="T8" fmla="*/ 37 w 84"/>
                  <a:gd name="T9" fmla="*/ 4 h 30"/>
                  <a:gd name="T10" fmla="*/ 37 w 84"/>
                  <a:gd name="T11" fmla="*/ 20 h 30"/>
                  <a:gd name="T12" fmla="*/ 5 w 84"/>
                  <a:gd name="T13" fmla="*/ 20 h 30"/>
                  <a:gd name="T14" fmla="*/ 0 w 84"/>
                  <a:gd name="T15" fmla="*/ 25 h 30"/>
                  <a:gd name="T16" fmla="*/ 5 w 84"/>
                  <a:gd name="T17" fmla="*/ 30 h 30"/>
                  <a:gd name="T18" fmla="*/ 79 w 84"/>
                  <a:gd name="T19" fmla="*/ 30 h 30"/>
                  <a:gd name="T20" fmla="*/ 84 w 84"/>
                  <a:gd name="T21" fmla="*/ 25 h 30"/>
                  <a:gd name="T22" fmla="*/ 79 w 84"/>
                  <a:gd name="T23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30">
                    <a:moveTo>
                      <a:pt x="79" y="20"/>
                    </a:moveTo>
                    <a:cubicBezTo>
                      <a:pt x="47" y="20"/>
                      <a:pt x="47" y="20"/>
                      <a:pt x="47" y="20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47" y="2"/>
                      <a:pt x="45" y="0"/>
                      <a:pt x="42" y="0"/>
                    </a:cubicBezTo>
                    <a:cubicBezTo>
                      <a:pt x="40" y="0"/>
                      <a:pt x="37" y="2"/>
                      <a:pt x="37" y="4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22"/>
                      <a:pt x="0" y="25"/>
                    </a:cubicBezTo>
                    <a:cubicBezTo>
                      <a:pt x="0" y="28"/>
                      <a:pt x="2" y="30"/>
                      <a:pt x="5" y="30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82" y="30"/>
                      <a:pt x="84" y="28"/>
                      <a:pt x="84" y="25"/>
                    </a:cubicBezTo>
                    <a:cubicBezTo>
                      <a:pt x="84" y="22"/>
                      <a:pt x="82" y="20"/>
                      <a:pt x="7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2" name="Freeform 640"/>
              <p:cNvSpPr>
                <a:spLocks noEditPoints="1"/>
              </p:cNvSpPr>
              <p:nvPr/>
            </p:nvSpPr>
            <p:spPr bwMode="auto">
              <a:xfrm>
                <a:off x="11387138" y="3249613"/>
                <a:ext cx="320675" cy="558800"/>
              </a:xfrm>
              <a:custGeom>
                <a:avLst/>
                <a:gdLst>
                  <a:gd name="T0" fmla="*/ 61 w 114"/>
                  <a:gd name="T1" fmla="*/ 0 h 199"/>
                  <a:gd name="T2" fmla="*/ 53 w 114"/>
                  <a:gd name="T3" fmla="*/ 0 h 199"/>
                  <a:gd name="T4" fmla="*/ 0 w 114"/>
                  <a:gd name="T5" fmla="*/ 53 h 199"/>
                  <a:gd name="T6" fmla="*/ 0 w 114"/>
                  <a:gd name="T7" fmla="*/ 146 h 199"/>
                  <a:gd name="T8" fmla="*/ 53 w 114"/>
                  <a:gd name="T9" fmla="*/ 199 h 199"/>
                  <a:gd name="T10" fmla="*/ 61 w 114"/>
                  <a:gd name="T11" fmla="*/ 199 h 199"/>
                  <a:gd name="T12" fmla="*/ 114 w 114"/>
                  <a:gd name="T13" fmla="*/ 146 h 199"/>
                  <a:gd name="T14" fmla="*/ 114 w 114"/>
                  <a:gd name="T15" fmla="*/ 53 h 199"/>
                  <a:gd name="T16" fmla="*/ 61 w 114"/>
                  <a:gd name="T17" fmla="*/ 0 h 199"/>
                  <a:gd name="T18" fmla="*/ 53 w 114"/>
                  <a:gd name="T19" fmla="*/ 10 h 199"/>
                  <a:gd name="T20" fmla="*/ 61 w 114"/>
                  <a:gd name="T21" fmla="*/ 10 h 199"/>
                  <a:gd name="T22" fmla="*/ 104 w 114"/>
                  <a:gd name="T23" fmla="*/ 53 h 199"/>
                  <a:gd name="T24" fmla="*/ 104 w 114"/>
                  <a:gd name="T25" fmla="*/ 138 h 199"/>
                  <a:gd name="T26" fmla="*/ 10 w 114"/>
                  <a:gd name="T27" fmla="*/ 138 h 199"/>
                  <a:gd name="T28" fmla="*/ 10 w 114"/>
                  <a:gd name="T29" fmla="*/ 53 h 199"/>
                  <a:gd name="T30" fmla="*/ 53 w 114"/>
                  <a:gd name="T31" fmla="*/ 10 h 199"/>
                  <a:gd name="T32" fmla="*/ 61 w 114"/>
                  <a:gd name="T33" fmla="*/ 189 h 199"/>
                  <a:gd name="T34" fmla="*/ 53 w 114"/>
                  <a:gd name="T35" fmla="*/ 189 h 199"/>
                  <a:gd name="T36" fmla="*/ 10 w 114"/>
                  <a:gd name="T37" fmla="*/ 148 h 199"/>
                  <a:gd name="T38" fmla="*/ 104 w 114"/>
                  <a:gd name="T39" fmla="*/ 148 h 199"/>
                  <a:gd name="T40" fmla="*/ 61 w 114"/>
                  <a:gd name="T41" fmla="*/ 18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4" h="199">
                    <a:moveTo>
                      <a:pt x="61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24" y="0"/>
                      <a:pt x="0" y="24"/>
                      <a:pt x="0" y="53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75"/>
                      <a:pt x="24" y="199"/>
                      <a:pt x="53" y="199"/>
                    </a:cubicBezTo>
                    <a:cubicBezTo>
                      <a:pt x="61" y="199"/>
                      <a:pt x="61" y="199"/>
                      <a:pt x="61" y="199"/>
                    </a:cubicBezTo>
                    <a:cubicBezTo>
                      <a:pt x="90" y="199"/>
                      <a:pt x="114" y="175"/>
                      <a:pt x="114" y="146"/>
                    </a:cubicBezTo>
                    <a:cubicBezTo>
                      <a:pt x="114" y="53"/>
                      <a:pt x="114" y="53"/>
                      <a:pt x="114" y="53"/>
                    </a:cubicBezTo>
                    <a:cubicBezTo>
                      <a:pt x="114" y="24"/>
                      <a:pt x="90" y="0"/>
                      <a:pt x="61" y="0"/>
                    </a:cubicBezTo>
                    <a:close/>
                    <a:moveTo>
                      <a:pt x="53" y="10"/>
                    </a:moveTo>
                    <a:cubicBezTo>
                      <a:pt x="61" y="10"/>
                      <a:pt x="61" y="10"/>
                      <a:pt x="61" y="10"/>
                    </a:cubicBezTo>
                    <a:cubicBezTo>
                      <a:pt x="85" y="10"/>
                      <a:pt x="104" y="29"/>
                      <a:pt x="104" y="53"/>
                    </a:cubicBezTo>
                    <a:cubicBezTo>
                      <a:pt x="104" y="138"/>
                      <a:pt x="104" y="138"/>
                      <a:pt x="104" y="138"/>
                    </a:cubicBezTo>
                    <a:cubicBezTo>
                      <a:pt x="10" y="138"/>
                      <a:pt x="10" y="138"/>
                      <a:pt x="10" y="138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29"/>
                      <a:pt x="30" y="10"/>
                      <a:pt x="53" y="10"/>
                    </a:cubicBezTo>
                    <a:close/>
                    <a:moveTo>
                      <a:pt x="61" y="189"/>
                    </a:moveTo>
                    <a:cubicBezTo>
                      <a:pt x="53" y="189"/>
                      <a:pt x="53" y="189"/>
                      <a:pt x="53" y="189"/>
                    </a:cubicBezTo>
                    <a:cubicBezTo>
                      <a:pt x="30" y="189"/>
                      <a:pt x="11" y="171"/>
                      <a:pt x="10" y="148"/>
                    </a:cubicBezTo>
                    <a:cubicBezTo>
                      <a:pt x="104" y="148"/>
                      <a:pt x="104" y="148"/>
                      <a:pt x="104" y="148"/>
                    </a:cubicBezTo>
                    <a:cubicBezTo>
                      <a:pt x="103" y="171"/>
                      <a:pt x="84" y="189"/>
                      <a:pt x="61" y="1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3" name="Oval 641"/>
              <p:cNvSpPr>
                <a:spLocks noChangeArrowheads="1"/>
              </p:cNvSpPr>
              <p:nvPr/>
            </p:nvSpPr>
            <p:spPr bwMode="auto">
              <a:xfrm>
                <a:off x="11485563" y="3484563"/>
                <a:ext cx="39687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4" name="Oval 642"/>
              <p:cNvSpPr>
                <a:spLocks noChangeArrowheads="1"/>
              </p:cNvSpPr>
              <p:nvPr/>
            </p:nvSpPr>
            <p:spPr bwMode="auto">
              <a:xfrm>
                <a:off x="11572875" y="3484563"/>
                <a:ext cx="36512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5" name="Oval 643"/>
              <p:cNvSpPr>
                <a:spLocks noChangeArrowheads="1"/>
              </p:cNvSpPr>
              <p:nvPr/>
            </p:nvSpPr>
            <p:spPr bwMode="auto">
              <a:xfrm>
                <a:off x="11615738" y="3527425"/>
                <a:ext cx="36512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6" name="Oval 644"/>
              <p:cNvSpPr>
                <a:spLocks noChangeArrowheads="1"/>
              </p:cNvSpPr>
              <p:nvPr/>
            </p:nvSpPr>
            <p:spPr bwMode="auto">
              <a:xfrm>
                <a:off x="11485563" y="3400425"/>
                <a:ext cx="39687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7" name="Oval 645"/>
              <p:cNvSpPr>
                <a:spLocks noChangeArrowheads="1"/>
              </p:cNvSpPr>
              <p:nvPr/>
            </p:nvSpPr>
            <p:spPr bwMode="auto">
              <a:xfrm>
                <a:off x="11528425" y="3443288"/>
                <a:ext cx="38100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8" name="Oval 646"/>
              <p:cNvSpPr>
                <a:spLocks noChangeArrowheads="1"/>
              </p:cNvSpPr>
              <p:nvPr/>
            </p:nvSpPr>
            <p:spPr bwMode="auto">
              <a:xfrm>
                <a:off x="11615738" y="3359150"/>
                <a:ext cx="36512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49" name="Oval 647"/>
              <p:cNvSpPr>
                <a:spLocks noChangeArrowheads="1"/>
              </p:cNvSpPr>
              <p:nvPr/>
            </p:nvSpPr>
            <p:spPr bwMode="auto">
              <a:xfrm>
                <a:off x="11528425" y="3359150"/>
                <a:ext cx="38100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0" name="Oval 648"/>
              <p:cNvSpPr>
                <a:spLocks noChangeArrowheads="1"/>
              </p:cNvSpPr>
              <p:nvPr/>
            </p:nvSpPr>
            <p:spPr bwMode="auto">
              <a:xfrm>
                <a:off x="11442700" y="3443288"/>
                <a:ext cx="39687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1" name="Oval 649"/>
              <p:cNvSpPr>
                <a:spLocks noChangeArrowheads="1"/>
              </p:cNvSpPr>
              <p:nvPr/>
            </p:nvSpPr>
            <p:spPr bwMode="auto">
              <a:xfrm>
                <a:off x="11615738" y="3443288"/>
                <a:ext cx="36512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2" name="Oval 650"/>
              <p:cNvSpPr>
                <a:spLocks noChangeArrowheads="1"/>
              </p:cNvSpPr>
              <p:nvPr/>
            </p:nvSpPr>
            <p:spPr bwMode="auto">
              <a:xfrm>
                <a:off x="11528425" y="3527425"/>
                <a:ext cx="38100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3" name="Oval 651"/>
              <p:cNvSpPr>
                <a:spLocks noChangeArrowheads="1"/>
              </p:cNvSpPr>
              <p:nvPr/>
            </p:nvSpPr>
            <p:spPr bwMode="auto">
              <a:xfrm>
                <a:off x="11485563" y="3570288"/>
                <a:ext cx="39687" cy="381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4" name="Oval 652"/>
              <p:cNvSpPr>
                <a:spLocks noChangeArrowheads="1"/>
              </p:cNvSpPr>
              <p:nvPr/>
            </p:nvSpPr>
            <p:spPr bwMode="auto">
              <a:xfrm>
                <a:off x="11442700" y="3527425"/>
                <a:ext cx="39687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5" name="Oval 653"/>
              <p:cNvSpPr>
                <a:spLocks noChangeArrowheads="1"/>
              </p:cNvSpPr>
              <p:nvPr/>
            </p:nvSpPr>
            <p:spPr bwMode="auto">
              <a:xfrm>
                <a:off x="11442700" y="3359150"/>
                <a:ext cx="39687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6" name="Oval 654"/>
              <p:cNvSpPr>
                <a:spLocks noChangeArrowheads="1"/>
              </p:cNvSpPr>
              <p:nvPr/>
            </p:nvSpPr>
            <p:spPr bwMode="auto">
              <a:xfrm>
                <a:off x="11572875" y="3400425"/>
                <a:ext cx="36512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7" name="Oval 655"/>
              <p:cNvSpPr>
                <a:spLocks noChangeArrowheads="1"/>
              </p:cNvSpPr>
              <p:nvPr/>
            </p:nvSpPr>
            <p:spPr bwMode="auto">
              <a:xfrm>
                <a:off x="11572875" y="3570288"/>
                <a:ext cx="36512" cy="381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8" name="Oval 656"/>
              <p:cNvSpPr>
                <a:spLocks noChangeArrowheads="1"/>
              </p:cNvSpPr>
              <p:nvPr/>
            </p:nvSpPr>
            <p:spPr bwMode="auto">
              <a:xfrm>
                <a:off x="11485563" y="3313113"/>
                <a:ext cx="39687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  <p:sp>
            <p:nvSpPr>
              <p:cNvPr id="59" name="Oval 657"/>
              <p:cNvSpPr>
                <a:spLocks noChangeArrowheads="1"/>
              </p:cNvSpPr>
              <p:nvPr/>
            </p:nvSpPr>
            <p:spPr bwMode="auto">
              <a:xfrm>
                <a:off x="11572875" y="3313113"/>
                <a:ext cx="36512" cy="396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5718" tIns="12859" rIns="25718" bIns="1285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232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8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"/>
                  <a:sym typeface="Helvetica Neue"/>
                </a:endParaRPr>
              </a:p>
            </p:txBody>
          </p:sp>
        </p:grpSp>
        <p:sp>
          <p:nvSpPr>
            <p:cNvPr id="40" name="Rectangle 39"/>
            <p:cNvSpPr/>
            <p:nvPr/>
          </p:nvSpPr>
          <p:spPr bwMode="auto">
            <a:xfrm rot="2700000">
              <a:off x="5282315" y="1488784"/>
              <a:ext cx="23512" cy="437774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chemeClr val="bg1"/>
              </a:solidFill>
            </a:ln>
          </p:spPr>
          <p:txBody>
            <a:bodyPr rtlCol="0" anchor="t"/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Helvetica Neue"/>
                <a:sym typeface="Helvetica Neue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890997" y="3180472"/>
            <a:ext cx="650098" cy="734423"/>
            <a:chOff x="8087992" y="4463845"/>
            <a:chExt cx="514962" cy="531277"/>
          </a:xfrm>
          <a:solidFill>
            <a:srgbClr val="FFFFFF"/>
          </a:solidFill>
        </p:grpSpPr>
        <p:sp>
          <p:nvSpPr>
            <p:cNvPr id="61" name="Freeform 11"/>
            <p:cNvSpPr>
              <a:spLocks noEditPoints="1"/>
            </p:cNvSpPr>
            <p:nvPr/>
          </p:nvSpPr>
          <p:spPr bwMode="auto">
            <a:xfrm>
              <a:off x="8087992" y="4463845"/>
              <a:ext cx="514962" cy="531277"/>
            </a:xfrm>
            <a:custGeom>
              <a:avLst/>
              <a:gdLst>
                <a:gd name="T0" fmla="*/ 145 w 220"/>
                <a:gd name="T1" fmla="*/ 0 h 215"/>
                <a:gd name="T2" fmla="*/ 74 w 220"/>
                <a:gd name="T3" fmla="*/ 0 h 215"/>
                <a:gd name="T4" fmla="*/ 0 w 220"/>
                <a:gd name="T5" fmla="*/ 81 h 215"/>
                <a:gd name="T6" fmla="*/ 58 w 220"/>
                <a:gd name="T7" fmla="*/ 160 h 215"/>
                <a:gd name="T8" fmla="*/ 58 w 220"/>
                <a:gd name="T9" fmla="*/ 211 h 215"/>
                <a:gd name="T10" fmla="*/ 60 w 220"/>
                <a:gd name="T11" fmla="*/ 215 h 215"/>
                <a:gd name="T12" fmla="*/ 62 w 220"/>
                <a:gd name="T13" fmla="*/ 215 h 215"/>
                <a:gd name="T14" fmla="*/ 65 w 220"/>
                <a:gd name="T15" fmla="*/ 214 h 215"/>
                <a:gd name="T16" fmla="*/ 125 w 220"/>
                <a:gd name="T17" fmla="*/ 162 h 215"/>
                <a:gd name="T18" fmla="*/ 145 w 220"/>
                <a:gd name="T19" fmla="*/ 162 h 215"/>
                <a:gd name="T20" fmla="*/ 220 w 220"/>
                <a:gd name="T21" fmla="*/ 81 h 215"/>
                <a:gd name="T22" fmla="*/ 145 w 220"/>
                <a:gd name="T23" fmla="*/ 0 h 215"/>
                <a:gd name="T24" fmla="*/ 145 w 220"/>
                <a:gd name="T25" fmla="*/ 153 h 215"/>
                <a:gd name="T26" fmla="*/ 123 w 220"/>
                <a:gd name="T27" fmla="*/ 153 h 215"/>
                <a:gd name="T28" fmla="*/ 120 w 220"/>
                <a:gd name="T29" fmla="*/ 154 h 215"/>
                <a:gd name="T30" fmla="*/ 67 w 220"/>
                <a:gd name="T31" fmla="*/ 201 h 215"/>
                <a:gd name="T32" fmla="*/ 67 w 220"/>
                <a:gd name="T33" fmla="*/ 156 h 215"/>
                <a:gd name="T34" fmla="*/ 63 w 220"/>
                <a:gd name="T35" fmla="*/ 152 h 215"/>
                <a:gd name="T36" fmla="*/ 9 w 220"/>
                <a:gd name="T37" fmla="*/ 81 h 215"/>
                <a:gd name="T38" fmla="*/ 74 w 220"/>
                <a:gd name="T39" fmla="*/ 9 h 215"/>
                <a:gd name="T40" fmla="*/ 145 w 220"/>
                <a:gd name="T41" fmla="*/ 9 h 215"/>
                <a:gd name="T42" fmla="*/ 211 w 220"/>
                <a:gd name="T43" fmla="*/ 81 h 215"/>
                <a:gd name="T44" fmla="*/ 145 w 220"/>
                <a:gd name="T45" fmla="*/ 15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215">
                  <a:moveTo>
                    <a:pt x="145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33" y="0"/>
                    <a:pt x="0" y="36"/>
                    <a:pt x="0" y="81"/>
                  </a:cubicBezTo>
                  <a:cubicBezTo>
                    <a:pt x="0" y="119"/>
                    <a:pt x="24" y="151"/>
                    <a:pt x="58" y="160"/>
                  </a:cubicBezTo>
                  <a:cubicBezTo>
                    <a:pt x="58" y="211"/>
                    <a:pt x="58" y="211"/>
                    <a:pt x="58" y="211"/>
                  </a:cubicBezTo>
                  <a:cubicBezTo>
                    <a:pt x="58" y="212"/>
                    <a:pt x="59" y="214"/>
                    <a:pt x="60" y="215"/>
                  </a:cubicBezTo>
                  <a:cubicBezTo>
                    <a:pt x="61" y="215"/>
                    <a:pt x="61" y="215"/>
                    <a:pt x="62" y="215"/>
                  </a:cubicBezTo>
                  <a:cubicBezTo>
                    <a:pt x="63" y="215"/>
                    <a:pt x="64" y="215"/>
                    <a:pt x="65" y="214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45" y="162"/>
                    <a:pt x="145" y="162"/>
                    <a:pt x="145" y="162"/>
                  </a:cubicBezTo>
                  <a:cubicBezTo>
                    <a:pt x="186" y="162"/>
                    <a:pt x="220" y="125"/>
                    <a:pt x="220" y="81"/>
                  </a:cubicBezTo>
                  <a:cubicBezTo>
                    <a:pt x="220" y="36"/>
                    <a:pt x="186" y="0"/>
                    <a:pt x="145" y="0"/>
                  </a:cubicBezTo>
                  <a:close/>
                  <a:moveTo>
                    <a:pt x="145" y="153"/>
                  </a:moveTo>
                  <a:cubicBezTo>
                    <a:pt x="123" y="153"/>
                    <a:pt x="123" y="153"/>
                    <a:pt x="123" y="153"/>
                  </a:cubicBezTo>
                  <a:cubicBezTo>
                    <a:pt x="122" y="153"/>
                    <a:pt x="121" y="153"/>
                    <a:pt x="120" y="154"/>
                  </a:cubicBezTo>
                  <a:cubicBezTo>
                    <a:pt x="67" y="201"/>
                    <a:pt x="67" y="201"/>
                    <a:pt x="67" y="201"/>
                  </a:cubicBezTo>
                  <a:cubicBezTo>
                    <a:pt x="67" y="156"/>
                    <a:pt x="67" y="156"/>
                    <a:pt x="67" y="156"/>
                  </a:cubicBezTo>
                  <a:cubicBezTo>
                    <a:pt x="67" y="154"/>
                    <a:pt x="65" y="152"/>
                    <a:pt x="63" y="152"/>
                  </a:cubicBezTo>
                  <a:cubicBezTo>
                    <a:pt x="32" y="145"/>
                    <a:pt x="9" y="116"/>
                    <a:pt x="9" y="81"/>
                  </a:cubicBezTo>
                  <a:cubicBezTo>
                    <a:pt x="9" y="41"/>
                    <a:pt x="38" y="9"/>
                    <a:pt x="74" y="9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81" y="9"/>
                    <a:pt x="211" y="41"/>
                    <a:pt x="211" y="81"/>
                  </a:cubicBezTo>
                  <a:cubicBezTo>
                    <a:pt x="211" y="120"/>
                    <a:pt x="181" y="153"/>
                    <a:pt x="145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5718" tIns="12859" rIns="25718" bIns="1285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234316" y="4496378"/>
              <a:ext cx="222315" cy="3597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sym typeface="Helvetica Neue"/>
                </a:rPr>
                <a:t>?</a:t>
              </a: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sym typeface="Helvetica Neue"/>
              </a:endParaRPr>
            </a:p>
          </p:txBody>
        </p:sp>
      </p:grpSp>
      <p:grpSp>
        <p:nvGrpSpPr>
          <p:cNvPr id="69" name="Group 68"/>
          <p:cNvGrpSpPr>
            <a:grpSpLocks noChangeAspect="1"/>
          </p:cNvGrpSpPr>
          <p:nvPr/>
        </p:nvGrpSpPr>
        <p:grpSpPr>
          <a:xfrm>
            <a:off x="866653" y="4929586"/>
            <a:ext cx="682866" cy="682866"/>
            <a:chOff x="554038" y="3342323"/>
            <a:chExt cx="522288" cy="522288"/>
          </a:xfrm>
          <a:solidFill>
            <a:srgbClr val="FFFFFF"/>
          </a:solidFill>
        </p:grpSpPr>
        <p:sp>
          <p:nvSpPr>
            <p:cNvPr id="70" name="Freeform 79"/>
            <p:cNvSpPr>
              <a:spLocks noEditPoints="1"/>
            </p:cNvSpPr>
            <p:nvPr/>
          </p:nvSpPr>
          <p:spPr bwMode="auto">
            <a:xfrm>
              <a:off x="554038" y="3342323"/>
              <a:ext cx="522288" cy="522288"/>
            </a:xfrm>
            <a:custGeom>
              <a:avLst/>
              <a:gdLst>
                <a:gd name="T0" fmla="*/ 312 w 659"/>
                <a:gd name="T1" fmla="*/ 658 h 659"/>
                <a:gd name="T2" fmla="*/ 262 w 659"/>
                <a:gd name="T3" fmla="*/ 652 h 659"/>
                <a:gd name="T4" fmla="*/ 202 w 659"/>
                <a:gd name="T5" fmla="*/ 632 h 659"/>
                <a:gd name="T6" fmla="*/ 120 w 659"/>
                <a:gd name="T7" fmla="*/ 584 h 659"/>
                <a:gd name="T8" fmla="*/ 56 w 659"/>
                <a:gd name="T9" fmla="*/ 514 h 659"/>
                <a:gd name="T10" fmla="*/ 15 w 659"/>
                <a:gd name="T11" fmla="*/ 428 h 659"/>
                <a:gd name="T12" fmla="*/ 4 w 659"/>
                <a:gd name="T13" fmla="*/ 379 h 659"/>
                <a:gd name="T14" fmla="*/ 0 w 659"/>
                <a:gd name="T15" fmla="*/ 330 h 659"/>
                <a:gd name="T16" fmla="*/ 1 w 659"/>
                <a:gd name="T17" fmla="*/ 296 h 659"/>
                <a:gd name="T18" fmla="*/ 11 w 659"/>
                <a:gd name="T19" fmla="*/ 248 h 659"/>
                <a:gd name="T20" fmla="*/ 40 w 659"/>
                <a:gd name="T21" fmla="*/ 172 h 659"/>
                <a:gd name="T22" fmla="*/ 97 w 659"/>
                <a:gd name="T23" fmla="*/ 97 h 659"/>
                <a:gd name="T24" fmla="*/ 172 w 659"/>
                <a:gd name="T25" fmla="*/ 41 h 659"/>
                <a:gd name="T26" fmla="*/ 247 w 659"/>
                <a:gd name="T27" fmla="*/ 11 h 659"/>
                <a:gd name="T28" fmla="*/ 296 w 659"/>
                <a:gd name="T29" fmla="*/ 2 h 659"/>
                <a:gd name="T30" fmla="*/ 329 w 659"/>
                <a:gd name="T31" fmla="*/ 0 h 659"/>
                <a:gd name="T32" fmla="*/ 379 w 659"/>
                <a:gd name="T33" fmla="*/ 4 h 659"/>
                <a:gd name="T34" fmla="*/ 426 w 659"/>
                <a:gd name="T35" fmla="*/ 15 h 659"/>
                <a:gd name="T36" fmla="*/ 513 w 659"/>
                <a:gd name="T37" fmla="*/ 57 h 659"/>
                <a:gd name="T38" fmla="*/ 583 w 659"/>
                <a:gd name="T39" fmla="*/ 120 h 659"/>
                <a:gd name="T40" fmla="*/ 632 w 659"/>
                <a:gd name="T41" fmla="*/ 202 h 659"/>
                <a:gd name="T42" fmla="*/ 652 w 659"/>
                <a:gd name="T43" fmla="*/ 264 h 659"/>
                <a:gd name="T44" fmla="*/ 657 w 659"/>
                <a:gd name="T45" fmla="*/ 312 h 659"/>
                <a:gd name="T46" fmla="*/ 657 w 659"/>
                <a:gd name="T47" fmla="*/ 347 h 659"/>
                <a:gd name="T48" fmla="*/ 652 w 659"/>
                <a:gd name="T49" fmla="*/ 396 h 659"/>
                <a:gd name="T50" fmla="*/ 632 w 659"/>
                <a:gd name="T51" fmla="*/ 457 h 659"/>
                <a:gd name="T52" fmla="*/ 583 w 659"/>
                <a:gd name="T53" fmla="*/ 539 h 659"/>
                <a:gd name="T54" fmla="*/ 513 w 659"/>
                <a:gd name="T55" fmla="*/ 603 h 659"/>
                <a:gd name="T56" fmla="*/ 426 w 659"/>
                <a:gd name="T57" fmla="*/ 644 h 659"/>
                <a:gd name="T58" fmla="*/ 379 w 659"/>
                <a:gd name="T59" fmla="*/ 655 h 659"/>
                <a:gd name="T60" fmla="*/ 329 w 659"/>
                <a:gd name="T61" fmla="*/ 659 h 659"/>
                <a:gd name="T62" fmla="*/ 329 w 659"/>
                <a:gd name="T63" fmla="*/ 38 h 659"/>
                <a:gd name="T64" fmla="*/ 242 w 659"/>
                <a:gd name="T65" fmla="*/ 51 h 659"/>
                <a:gd name="T66" fmla="*/ 167 w 659"/>
                <a:gd name="T67" fmla="*/ 88 h 659"/>
                <a:gd name="T68" fmla="*/ 105 w 659"/>
                <a:gd name="T69" fmla="*/ 144 h 659"/>
                <a:gd name="T70" fmla="*/ 60 w 659"/>
                <a:gd name="T71" fmla="*/ 217 h 659"/>
                <a:gd name="T72" fmla="*/ 39 w 659"/>
                <a:gd name="T73" fmla="*/ 300 h 659"/>
                <a:gd name="T74" fmla="*/ 39 w 659"/>
                <a:gd name="T75" fmla="*/ 359 h 659"/>
                <a:gd name="T76" fmla="*/ 60 w 659"/>
                <a:gd name="T77" fmla="*/ 443 h 659"/>
                <a:gd name="T78" fmla="*/ 105 w 659"/>
                <a:gd name="T79" fmla="*/ 515 h 659"/>
                <a:gd name="T80" fmla="*/ 167 w 659"/>
                <a:gd name="T81" fmla="*/ 572 h 659"/>
                <a:gd name="T82" fmla="*/ 242 w 659"/>
                <a:gd name="T83" fmla="*/ 608 h 659"/>
                <a:gd name="T84" fmla="*/ 329 w 659"/>
                <a:gd name="T85" fmla="*/ 621 h 659"/>
                <a:gd name="T86" fmla="*/ 387 w 659"/>
                <a:gd name="T87" fmla="*/ 615 h 659"/>
                <a:gd name="T88" fmla="*/ 468 w 659"/>
                <a:gd name="T89" fmla="*/ 586 h 659"/>
                <a:gd name="T90" fmla="*/ 535 w 659"/>
                <a:gd name="T91" fmla="*/ 535 h 659"/>
                <a:gd name="T92" fmla="*/ 585 w 659"/>
                <a:gd name="T93" fmla="*/ 468 h 659"/>
                <a:gd name="T94" fmla="*/ 614 w 659"/>
                <a:gd name="T95" fmla="*/ 389 h 659"/>
                <a:gd name="T96" fmla="*/ 621 w 659"/>
                <a:gd name="T97" fmla="*/ 330 h 659"/>
                <a:gd name="T98" fmla="*/ 607 w 659"/>
                <a:gd name="T99" fmla="*/ 244 h 659"/>
                <a:gd name="T100" fmla="*/ 570 w 659"/>
                <a:gd name="T101" fmla="*/ 167 h 659"/>
                <a:gd name="T102" fmla="*/ 515 w 659"/>
                <a:gd name="T103" fmla="*/ 105 h 659"/>
                <a:gd name="T104" fmla="*/ 442 w 659"/>
                <a:gd name="T105" fmla="*/ 61 h 659"/>
                <a:gd name="T106" fmla="*/ 359 w 659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9" h="659">
                  <a:moveTo>
                    <a:pt x="329" y="659"/>
                  </a:moveTo>
                  <a:lnTo>
                    <a:pt x="329" y="659"/>
                  </a:lnTo>
                  <a:lnTo>
                    <a:pt x="312" y="658"/>
                  </a:lnTo>
                  <a:lnTo>
                    <a:pt x="296" y="656"/>
                  </a:lnTo>
                  <a:lnTo>
                    <a:pt x="280" y="655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2" y="632"/>
                  </a:lnTo>
                  <a:lnTo>
                    <a:pt x="172" y="619"/>
                  </a:lnTo>
                  <a:lnTo>
                    <a:pt x="145" y="603"/>
                  </a:lnTo>
                  <a:lnTo>
                    <a:pt x="120" y="584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4"/>
                  </a:lnTo>
                  <a:lnTo>
                    <a:pt x="40" y="487"/>
                  </a:lnTo>
                  <a:lnTo>
                    <a:pt x="26" y="457"/>
                  </a:lnTo>
                  <a:lnTo>
                    <a:pt x="15" y="428"/>
                  </a:lnTo>
                  <a:lnTo>
                    <a:pt x="11" y="412"/>
                  </a:lnTo>
                  <a:lnTo>
                    <a:pt x="7" y="396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4"/>
                  </a:lnTo>
                  <a:lnTo>
                    <a:pt x="11" y="248"/>
                  </a:lnTo>
                  <a:lnTo>
                    <a:pt x="15" y="232"/>
                  </a:lnTo>
                  <a:lnTo>
                    <a:pt x="26" y="202"/>
                  </a:lnTo>
                  <a:lnTo>
                    <a:pt x="40" y="172"/>
                  </a:lnTo>
                  <a:lnTo>
                    <a:pt x="56" y="146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2" y="26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80" y="4"/>
                  </a:lnTo>
                  <a:lnTo>
                    <a:pt x="296" y="2"/>
                  </a:lnTo>
                  <a:lnTo>
                    <a:pt x="312" y="2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2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3" y="57"/>
                  </a:lnTo>
                  <a:lnTo>
                    <a:pt x="538" y="76"/>
                  </a:lnTo>
                  <a:lnTo>
                    <a:pt x="562" y="97"/>
                  </a:lnTo>
                  <a:lnTo>
                    <a:pt x="583" y="120"/>
                  </a:lnTo>
                  <a:lnTo>
                    <a:pt x="602" y="146"/>
                  </a:lnTo>
                  <a:lnTo>
                    <a:pt x="618" y="172"/>
                  </a:lnTo>
                  <a:lnTo>
                    <a:pt x="632" y="202"/>
                  </a:lnTo>
                  <a:lnTo>
                    <a:pt x="644" y="232"/>
                  </a:lnTo>
                  <a:lnTo>
                    <a:pt x="648" y="248"/>
                  </a:lnTo>
                  <a:lnTo>
                    <a:pt x="652" y="264"/>
                  </a:lnTo>
                  <a:lnTo>
                    <a:pt x="655" y="280"/>
                  </a:lnTo>
                  <a:lnTo>
                    <a:pt x="656" y="296"/>
                  </a:lnTo>
                  <a:lnTo>
                    <a:pt x="657" y="312"/>
                  </a:lnTo>
                  <a:lnTo>
                    <a:pt x="659" y="330"/>
                  </a:lnTo>
                  <a:lnTo>
                    <a:pt x="659" y="330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5" y="379"/>
                  </a:lnTo>
                  <a:lnTo>
                    <a:pt x="652" y="396"/>
                  </a:lnTo>
                  <a:lnTo>
                    <a:pt x="648" y="412"/>
                  </a:lnTo>
                  <a:lnTo>
                    <a:pt x="644" y="428"/>
                  </a:lnTo>
                  <a:lnTo>
                    <a:pt x="632" y="457"/>
                  </a:lnTo>
                  <a:lnTo>
                    <a:pt x="618" y="487"/>
                  </a:lnTo>
                  <a:lnTo>
                    <a:pt x="602" y="514"/>
                  </a:lnTo>
                  <a:lnTo>
                    <a:pt x="583" y="539"/>
                  </a:lnTo>
                  <a:lnTo>
                    <a:pt x="562" y="562"/>
                  </a:lnTo>
                  <a:lnTo>
                    <a:pt x="538" y="584"/>
                  </a:lnTo>
                  <a:lnTo>
                    <a:pt x="513" y="603"/>
                  </a:lnTo>
                  <a:lnTo>
                    <a:pt x="485" y="619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8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300" y="39"/>
                  </a:lnTo>
                  <a:lnTo>
                    <a:pt x="270" y="45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91" y="73"/>
                  </a:lnTo>
                  <a:lnTo>
                    <a:pt x="167" y="88"/>
                  </a:lnTo>
                  <a:lnTo>
                    <a:pt x="144" y="105"/>
                  </a:lnTo>
                  <a:lnTo>
                    <a:pt x="124" y="124"/>
                  </a:lnTo>
                  <a:lnTo>
                    <a:pt x="105" y="144"/>
                  </a:lnTo>
                  <a:lnTo>
                    <a:pt x="87" y="167"/>
                  </a:lnTo>
                  <a:lnTo>
                    <a:pt x="73" y="191"/>
                  </a:lnTo>
                  <a:lnTo>
                    <a:pt x="60" y="217"/>
                  </a:lnTo>
                  <a:lnTo>
                    <a:pt x="51" y="244"/>
                  </a:lnTo>
                  <a:lnTo>
                    <a:pt x="43" y="271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9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3" y="468"/>
                  </a:lnTo>
                  <a:lnTo>
                    <a:pt x="87" y="492"/>
                  </a:lnTo>
                  <a:lnTo>
                    <a:pt x="105" y="515"/>
                  </a:lnTo>
                  <a:lnTo>
                    <a:pt x="124" y="535"/>
                  </a:lnTo>
                  <a:lnTo>
                    <a:pt x="144" y="554"/>
                  </a:lnTo>
                  <a:lnTo>
                    <a:pt x="167" y="572"/>
                  </a:lnTo>
                  <a:lnTo>
                    <a:pt x="191" y="586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5"/>
                  </a:lnTo>
                  <a:lnTo>
                    <a:pt x="300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5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2"/>
                  </a:lnTo>
                  <a:lnTo>
                    <a:pt x="515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3"/>
                  </a:lnTo>
                  <a:lnTo>
                    <a:pt x="607" y="416"/>
                  </a:lnTo>
                  <a:lnTo>
                    <a:pt x="614" y="389"/>
                  </a:lnTo>
                  <a:lnTo>
                    <a:pt x="618" y="359"/>
                  </a:lnTo>
                  <a:lnTo>
                    <a:pt x="621" y="330"/>
                  </a:lnTo>
                  <a:lnTo>
                    <a:pt x="621" y="330"/>
                  </a:lnTo>
                  <a:lnTo>
                    <a:pt x="618" y="300"/>
                  </a:lnTo>
                  <a:lnTo>
                    <a:pt x="614" y="271"/>
                  </a:lnTo>
                  <a:lnTo>
                    <a:pt x="607" y="244"/>
                  </a:lnTo>
                  <a:lnTo>
                    <a:pt x="597" y="217"/>
                  </a:lnTo>
                  <a:lnTo>
                    <a:pt x="585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5" y="105"/>
                  </a:lnTo>
                  <a:lnTo>
                    <a:pt x="492" y="88"/>
                  </a:lnTo>
                  <a:lnTo>
                    <a:pt x="468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5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5718" tIns="12859" rIns="25718" bIns="128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sym typeface="Helvetica Neue"/>
              </a:endParaRPr>
            </a:p>
          </p:txBody>
        </p:sp>
        <p:sp>
          <p:nvSpPr>
            <p:cNvPr id="71" name="Freeform 170"/>
            <p:cNvSpPr>
              <a:spLocks/>
            </p:cNvSpPr>
            <p:nvPr/>
          </p:nvSpPr>
          <p:spPr bwMode="auto">
            <a:xfrm>
              <a:off x="706438" y="3655060"/>
              <a:ext cx="227013" cy="55563"/>
            </a:xfrm>
            <a:custGeom>
              <a:avLst/>
              <a:gdLst>
                <a:gd name="T0" fmla="*/ 278 w 286"/>
                <a:gd name="T1" fmla="*/ 0 h 69"/>
                <a:gd name="T2" fmla="*/ 278 w 286"/>
                <a:gd name="T3" fmla="*/ 0 h 69"/>
                <a:gd name="T4" fmla="*/ 274 w 286"/>
                <a:gd name="T5" fmla="*/ 1 h 69"/>
                <a:gd name="T6" fmla="*/ 272 w 286"/>
                <a:gd name="T7" fmla="*/ 2 h 69"/>
                <a:gd name="T8" fmla="*/ 270 w 286"/>
                <a:gd name="T9" fmla="*/ 5 h 69"/>
                <a:gd name="T10" fmla="*/ 269 w 286"/>
                <a:gd name="T11" fmla="*/ 9 h 69"/>
                <a:gd name="T12" fmla="*/ 269 w 286"/>
                <a:gd name="T13" fmla="*/ 52 h 69"/>
                <a:gd name="T14" fmla="*/ 18 w 286"/>
                <a:gd name="T15" fmla="*/ 52 h 69"/>
                <a:gd name="T16" fmla="*/ 18 w 286"/>
                <a:gd name="T17" fmla="*/ 9 h 69"/>
                <a:gd name="T18" fmla="*/ 18 w 286"/>
                <a:gd name="T19" fmla="*/ 9 h 69"/>
                <a:gd name="T20" fmla="*/ 16 w 286"/>
                <a:gd name="T21" fmla="*/ 5 h 69"/>
                <a:gd name="T22" fmla="*/ 15 w 286"/>
                <a:gd name="T23" fmla="*/ 2 h 69"/>
                <a:gd name="T24" fmla="*/ 12 w 286"/>
                <a:gd name="T25" fmla="*/ 1 h 69"/>
                <a:gd name="T26" fmla="*/ 8 w 286"/>
                <a:gd name="T27" fmla="*/ 0 h 69"/>
                <a:gd name="T28" fmla="*/ 8 w 286"/>
                <a:gd name="T29" fmla="*/ 0 h 69"/>
                <a:gd name="T30" fmla="*/ 6 w 286"/>
                <a:gd name="T31" fmla="*/ 1 h 69"/>
                <a:gd name="T32" fmla="*/ 3 w 286"/>
                <a:gd name="T33" fmla="*/ 2 h 69"/>
                <a:gd name="T34" fmla="*/ 0 w 286"/>
                <a:gd name="T35" fmla="*/ 5 h 69"/>
                <a:gd name="T36" fmla="*/ 0 w 286"/>
                <a:gd name="T37" fmla="*/ 9 h 69"/>
                <a:gd name="T38" fmla="*/ 0 w 286"/>
                <a:gd name="T39" fmla="*/ 60 h 69"/>
                <a:gd name="T40" fmla="*/ 0 w 286"/>
                <a:gd name="T41" fmla="*/ 60 h 69"/>
                <a:gd name="T42" fmla="*/ 0 w 286"/>
                <a:gd name="T43" fmla="*/ 64 h 69"/>
                <a:gd name="T44" fmla="*/ 3 w 286"/>
                <a:gd name="T45" fmla="*/ 67 h 69"/>
                <a:gd name="T46" fmla="*/ 6 w 286"/>
                <a:gd name="T47" fmla="*/ 68 h 69"/>
                <a:gd name="T48" fmla="*/ 8 w 286"/>
                <a:gd name="T49" fmla="*/ 69 h 69"/>
                <a:gd name="T50" fmla="*/ 278 w 286"/>
                <a:gd name="T51" fmla="*/ 69 h 69"/>
                <a:gd name="T52" fmla="*/ 278 w 286"/>
                <a:gd name="T53" fmla="*/ 69 h 69"/>
                <a:gd name="T54" fmla="*/ 281 w 286"/>
                <a:gd name="T55" fmla="*/ 68 h 69"/>
                <a:gd name="T56" fmla="*/ 284 w 286"/>
                <a:gd name="T57" fmla="*/ 67 h 69"/>
                <a:gd name="T58" fmla="*/ 286 w 286"/>
                <a:gd name="T59" fmla="*/ 64 h 69"/>
                <a:gd name="T60" fmla="*/ 286 w 286"/>
                <a:gd name="T61" fmla="*/ 60 h 69"/>
                <a:gd name="T62" fmla="*/ 286 w 286"/>
                <a:gd name="T63" fmla="*/ 9 h 69"/>
                <a:gd name="T64" fmla="*/ 286 w 286"/>
                <a:gd name="T65" fmla="*/ 9 h 69"/>
                <a:gd name="T66" fmla="*/ 286 w 286"/>
                <a:gd name="T67" fmla="*/ 5 h 69"/>
                <a:gd name="T68" fmla="*/ 284 w 286"/>
                <a:gd name="T69" fmla="*/ 2 h 69"/>
                <a:gd name="T70" fmla="*/ 281 w 286"/>
                <a:gd name="T71" fmla="*/ 1 h 69"/>
                <a:gd name="T72" fmla="*/ 278 w 286"/>
                <a:gd name="T73" fmla="*/ 0 h 69"/>
                <a:gd name="T74" fmla="*/ 278 w 286"/>
                <a:gd name="T7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6" h="69">
                  <a:moveTo>
                    <a:pt x="278" y="0"/>
                  </a:moveTo>
                  <a:lnTo>
                    <a:pt x="278" y="0"/>
                  </a:lnTo>
                  <a:lnTo>
                    <a:pt x="274" y="1"/>
                  </a:lnTo>
                  <a:lnTo>
                    <a:pt x="272" y="2"/>
                  </a:lnTo>
                  <a:lnTo>
                    <a:pt x="270" y="5"/>
                  </a:lnTo>
                  <a:lnTo>
                    <a:pt x="269" y="9"/>
                  </a:lnTo>
                  <a:lnTo>
                    <a:pt x="269" y="52"/>
                  </a:lnTo>
                  <a:lnTo>
                    <a:pt x="18" y="52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5"/>
                  </a:lnTo>
                  <a:lnTo>
                    <a:pt x="15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3" y="67"/>
                  </a:lnTo>
                  <a:lnTo>
                    <a:pt x="6" y="68"/>
                  </a:lnTo>
                  <a:lnTo>
                    <a:pt x="8" y="69"/>
                  </a:lnTo>
                  <a:lnTo>
                    <a:pt x="278" y="69"/>
                  </a:lnTo>
                  <a:lnTo>
                    <a:pt x="278" y="69"/>
                  </a:lnTo>
                  <a:lnTo>
                    <a:pt x="281" y="68"/>
                  </a:lnTo>
                  <a:lnTo>
                    <a:pt x="284" y="67"/>
                  </a:lnTo>
                  <a:lnTo>
                    <a:pt x="286" y="64"/>
                  </a:lnTo>
                  <a:lnTo>
                    <a:pt x="286" y="60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5"/>
                  </a:lnTo>
                  <a:lnTo>
                    <a:pt x="284" y="2"/>
                  </a:lnTo>
                  <a:lnTo>
                    <a:pt x="281" y="1"/>
                  </a:lnTo>
                  <a:lnTo>
                    <a:pt x="278" y="0"/>
                  </a:lnTo>
                  <a:lnTo>
                    <a:pt x="2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5718" tIns="12859" rIns="25718" bIns="128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sym typeface="Helvetica Neue"/>
              </a:endParaRPr>
            </a:p>
          </p:txBody>
        </p:sp>
        <p:sp>
          <p:nvSpPr>
            <p:cNvPr id="72" name="Freeform 171"/>
            <p:cNvSpPr>
              <a:spLocks/>
            </p:cNvSpPr>
            <p:nvPr/>
          </p:nvSpPr>
          <p:spPr bwMode="auto">
            <a:xfrm>
              <a:off x="747713" y="3466148"/>
              <a:ext cx="146050" cy="195263"/>
            </a:xfrm>
            <a:custGeom>
              <a:avLst/>
              <a:gdLst>
                <a:gd name="T0" fmla="*/ 84 w 182"/>
                <a:gd name="T1" fmla="*/ 242 h 244"/>
                <a:gd name="T2" fmla="*/ 84 w 182"/>
                <a:gd name="T3" fmla="*/ 242 h 244"/>
                <a:gd name="T4" fmla="*/ 87 w 182"/>
                <a:gd name="T5" fmla="*/ 244 h 244"/>
                <a:gd name="T6" fmla="*/ 87 w 182"/>
                <a:gd name="T7" fmla="*/ 244 h 244"/>
                <a:gd name="T8" fmla="*/ 91 w 182"/>
                <a:gd name="T9" fmla="*/ 244 h 244"/>
                <a:gd name="T10" fmla="*/ 91 w 182"/>
                <a:gd name="T11" fmla="*/ 244 h 244"/>
                <a:gd name="T12" fmla="*/ 92 w 182"/>
                <a:gd name="T13" fmla="*/ 244 h 244"/>
                <a:gd name="T14" fmla="*/ 95 w 182"/>
                <a:gd name="T15" fmla="*/ 243 h 244"/>
                <a:gd name="T16" fmla="*/ 95 w 182"/>
                <a:gd name="T17" fmla="*/ 243 h 244"/>
                <a:gd name="T18" fmla="*/ 96 w 182"/>
                <a:gd name="T19" fmla="*/ 242 h 244"/>
                <a:gd name="T20" fmla="*/ 180 w 182"/>
                <a:gd name="T21" fmla="*/ 160 h 244"/>
                <a:gd name="T22" fmla="*/ 180 w 182"/>
                <a:gd name="T23" fmla="*/ 160 h 244"/>
                <a:gd name="T24" fmla="*/ 181 w 182"/>
                <a:gd name="T25" fmla="*/ 157 h 244"/>
                <a:gd name="T26" fmla="*/ 182 w 182"/>
                <a:gd name="T27" fmla="*/ 153 h 244"/>
                <a:gd name="T28" fmla="*/ 181 w 182"/>
                <a:gd name="T29" fmla="*/ 150 h 244"/>
                <a:gd name="T30" fmla="*/ 180 w 182"/>
                <a:gd name="T31" fmla="*/ 147 h 244"/>
                <a:gd name="T32" fmla="*/ 180 w 182"/>
                <a:gd name="T33" fmla="*/ 147 h 244"/>
                <a:gd name="T34" fmla="*/ 177 w 182"/>
                <a:gd name="T35" fmla="*/ 145 h 244"/>
                <a:gd name="T36" fmla="*/ 173 w 182"/>
                <a:gd name="T37" fmla="*/ 145 h 244"/>
                <a:gd name="T38" fmla="*/ 170 w 182"/>
                <a:gd name="T39" fmla="*/ 145 h 244"/>
                <a:gd name="T40" fmla="*/ 168 w 182"/>
                <a:gd name="T41" fmla="*/ 147 h 244"/>
                <a:gd name="T42" fmla="*/ 99 w 182"/>
                <a:gd name="T43" fmla="*/ 216 h 244"/>
                <a:gd name="T44" fmla="*/ 99 w 182"/>
                <a:gd name="T45" fmla="*/ 9 h 244"/>
                <a:gd name="T46" fmla="*/ 99 w 182"/>
                <a:gd name="T47" fmla="*/ 9 h 244"/>
                <a:gd name="T48" fmla="*/ 98 w 182"/>
                <a:gd name="T49" fmla="*/ 5 h 244"/>
                <a:gd name="T50" fmla="*/ 96 w 182"/>
                <a:gd name="T51" fmla="*/ 2 h 244"/>
                <a:gd name="T52" fmla="*/ 94 w 182"/>
                <a:gd name="T53" fmla="*/ 1 h 244"/>
                <a:gd name="T54" fmla="*/ 91 w 182"/>
                <a:gd name="T55" fmla="*/ 0 h 244"/>
                <a:gd name="T56" fmla="*/ 91 w 182"/>
                <a:gd name="T57" fmla="*/ 0 h 244"/>
                <a:gd name="T58" fmla="*/ 87 w 182"/>
                <a:gd name="T59" fmla="*/ 1 h 244"/>
                <a:gd name="T60" fmla="*/ 84 w 182"/>
                <a:gd name="T61" fmla="*/ 2 h 244"/>
                <a:gd name="T62" fmla="*/ 83 w 182"/>
                <a:gd name="T63" fmla="*/ 5 h 244"/>
                <a:gd name="T64" fmla="*/ 82 w 182"/>
                <a:gd name="T65" fmla="*/ 9 h 244"/>
                <a:gd name="T66" fmla="*/ 82 w 182"/>
                <a:gd name="T67" fmla="*/ 216 h 244"/>
                <a:gd name="T68" fmla="*/ 13 w 182"/>
                <a:gd name="T69" fmla="*/ 147 h 244"/>
                <a:gd name="T70" fmla="*/ 13 w 182"/>
                <a:gd name="T71" fmla="*/ 147 h 244"/>
                <a:gd name="T72" fmla="*/ 10 w 182"/>
                <a:gd name="T73" fmla="*/ 145 h 244"/>
                <a:gd name="T74" fmla="*/ 8 w 182"/>
                <a:gd name="T75" fmla="*/ 145 h 244"/>
                <a:gd name="T76" fmla="*/ 5 w 182"/>
                <a:gd name="T77" fmla="*/ 145 h 244"/>
                <a:gd name="T78" fmla="*/ 1 w 182"/>
                <a:gd name="T79" fmla="*/ 147 h 244"/>
                <a:gd name="T80" fmla="*/ 1 w 182"/>
                <a:gd name="T81" fmla="*/ 147 h 244"/>
                <a:gd name="T82" fmla="*/ 0 w 182"/>
                <a:gd name="T83" fmla="*/ 150 h 244"/>
                <a:gd name="T84" fmla="*/ 0 w 182"/>
                <a:gd name="T85" fmla="*/ 153 h 244"/>
                <a:gd name="T86" fmla="*/ 0 w 182"/>
                <a:gd name="T87" fmla="*/ 157 h 244"/>
                <a:gd name="T88" fmla="*/ 1 w 182"/>
                <a:gd name="T89" fmla="*/ 160 h 244"/>
                <a:gd name="T90" fmla="*/ 84 w 182"/>
                <a:gd name="T91" fmla="*/ 24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244">
                  <a:moveTo>
                    <a:pt x="84" y="242"/>
                  </a:moveTo>
                  <a:lnTo>
                    <a:pt x="84" y="242"/>
                  </a:lnTo>
                  <a:lnTo>
                    <a:pt x="87" y="244"/>
                  </a:lnTo>
                  <a:lnTo>
                    <a:pt x="87" y="244"/>
                  </a:lnTo>
                  <a:lnTo>
                    <a:pt x="91" y="244"/>
                  </a:lnTo>
                  <a:lnTo>
                    <a:pt x="91" y="244"/>
                  </a:lnTo>
                  <a:lnTo>
                    <a:pt x="92" y="244"/>
                  </a:lnTo>
                  <a:lnTo>
                    <a:pt x="95" y="243"/>
                  </a:lnTo>
                  <a:lnTo>
                    <a:pt x="95" y="243"/>
                  </a:lnTo>
                  <a:lnTo>
                    <a:pt x="96" y="242"/>
                  </a:lnTo>
                  <a:lnTo>
                    <a:pt x="180" y="160"/>
                  </a:lnTo>
                  <a:lnTo>
                    <a:pt x="180" y="160"/>
                  </a:lnTo>
                  <a:lnTo>
                    <a:pt x="181" y="157"/>
                  </a:lnTo>
                  <a:lnTo>
                    <a:pt x="182" y="153"/>
                  </a:lnTo>
                  <a:lnTo>
                    <a:pt x="181" y="150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77" y="145"/>
                  </a:lnTo>
                  <a:lnTo>
                    <a:pt x="173" y="145"/>
                  </a:lnTo>
                  <a:lnTo>
                    <a:pt x="170" y="145"/>
                  </a:lnTo>
                  <a:lnTo>
                    <a:pt x="168" y="147"/>
                  </a:lnTo>
                  <a:lnTo>
                    <a:pt x="99" y="216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8" y="5"/>
                  </a:lnTo>
                  <a:lnTo>
                    <a:pt x="96" y="2"/>
                  </a:lnTo>
                  <a:lnTo>
                    <a:pt x="94" y="1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7" y="1"/>
                  </a:lnTo>
                  <a:lnTo>
                    <a:pt x="84" y="2"/>
                  </a:lnTo>
                  <a:lnTo>
                    <a:pt x="83" y="5"/>
                  </a:lnTo>
                  <a:lnTo>
                    <a:pt x="82" y="9"/>
                  </a:lnTo>
                  <a:lnTo>
                    <a:pt x="82" y="216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0" y="145"/>
                  </a:lnTo>
                  <a:lnTo>
                    <a:pt x="8" y="145"/>
                  </a:lnTo>
                  <a:lnTo>
                    <a:pt x="5" y="145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0" y="150"/>
                  </a:lnTo>
                  <a:lnTo>
                    <a:pt x="0" y="153"/>
                  </a:lnTo>
                  <a:lnTo>
                    <a:pt x="0" y="157"/>
                  </a:lnTo>
                  <a:lnTo>
                    <a:pt x="1" y="160"/>
                  </a:lnTo>
                  <a:lnTo>
                    <a:pt x="84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5718" tIns="12859" rIns="25718" bIns="128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232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sym typeface="Helvetica Neue"/>
              </a:endParaRPr>
            </a:p>
          </p:txBody>
        </p:sp>
      </p:grpSp>
      <p:sp>
        <p:nvSpPr>
          <p:cNvPr id="3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241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4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y Work Package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>
          <a:xfrm>
            <a:off x="751940" y="2701133"/>
            <a:ext cx="4301555" cy="3250746"/>
          </a:xfrm>
        </p:spPr>
        <p:txBody>
          <a:bodyPr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GB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topic discussion group will have to define the requirements for user identification, authentication and record matching  in view of the eIDAS Regulation. </a:t>
            </a:r>
            <a:endParaRPr lang="en-GB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751940" y="6405344"/>
            <a:ext cx="438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Proposed dates and expected of outputs are subject to change</a:t>
            </a:r>
          </a:p>
        </p:txBody>
      </p:sp>
      <p:sp>
        <p:nvSpPr>
          <p:cNvPr id="13" name="Title 5"/>
          <p:cNvSpPr txBox="1">
            <a:spLocks/>
          </p:cNvSpPr>
          <p:nvPr/>
        </p:nvSpPr>
        <p:spPr>
          <a:xfrm>
            <a:off x="751939" y="1902700"/>
            <a:ext cx="5338309" cy="3564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5"/>
                </a:solidFill>
                <a:latin typeface="EC Square Sans Pro" panose="020B0506040000020004" pitchFamily="34" charset="0"/>
                <a:ea typeface="+mj-ea"/>
                <a:cs typeface="+mj-cs"/>
              </a:defRPr>
            </a:lvl1pPr>
          </a:lstStyle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ication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hentication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cord Matching Topic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7"/>
          <p:cNvSpPr txBox="1">
            <a:spLocks/>
          </p:cNvSpPr>
          <p:nvPr/>
        </p:nvSpPr>
        <p:spPr>
          <a:xfrm>
            <a:off x="6403680" y="2711167"/>
            <a:ext cx="4301555" cy="325074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specification of data format and exchange protocol for the interactive exchange of evidence requests and response. </a:t>
            </a:r>
          </a:p>
          <a:p>
            <a:pPr>
              <a:lnSpc>
                <a:spcPct val="150000"/>
              </a:lnSpc>
            </a:pPr>
            <a:r>
              <a:rPr lang="en-GB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tensions to be proposed to and decided in working groups. </a:t>
            </a:r>
            <a:endParaRPr lang="en-GB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itle 5"/>
          <p:cNvSpPr txBox="1">
            <a:spLocks/>
          </p:cNvSpPr>
          <p:nvPr/>
        </p:nvSpPr>
        <p:spPr>
          <a:xfrm>
            <a:off x="6403680" y="1939602"/>
            <a:ext cx="4898362" cy="3564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5"/>
                </a:solidFill>
                <a:latin typeface="EC Square Sans Pro" panose="020B0506040000020004" pitchFamily="34" charset="0"/>
                <a:ea typeface="+mj-ea"/>
                <a:cs typeface="+mj-cs"/>
              </a:defRPr>
            </a:lvl1pPr>
          </a:lstStyle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 Topic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208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638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7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6050616"/>
              </p:ext>
            </p:extLst>
          </p:nvPr>
        </p:nvGraphicFramePr>
        <p:xfrm>
          <a:off x="2694698" y="1982526"/>
          <a:ext cx="8778997" cy="208434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96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327062886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917789149"/>
                    </a:ext>
                  </a:extLst>
                </a:gridCol>
                <a:gridCol w="239412">
                  <a:extLst>
                    <a:ext uri="{9D8B030D-6E8A-4147-A177-3AD203B41FA5}">
                      <a16:colId xmlns:a16="http://schemas.microsoft.com/office/drawing/2014/main" val="2558839583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90960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88665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P Initiation Spac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List of Requirement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29557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</a:tbl>
          </a:graphicData>
        </a:graphic>
      </p:graphicFrame>
      <p:sp>
        <p:nvSpPr>
          <p:cNvPr id="193" name="Rectangle 11"/>
          <p:cNvSpPr>
            <a:spLocks noChangeArrowheads="1"/>
          </p:cNvSpPr>
          <p:nvPr/>
        </p:nvSpPr>
        <p:spPr bwMode="auto">
          <a:xfrm>
            <a:off x="5738921" y="3643822"/>
            <a:ext cx="104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defTabSz="1828800" hangingPunct="1">
              <a:lnSpc>
                <a:spcPct val="75000"/>
              </a:lnSpc>
            </a:pPr>
            <a:endParaRPr lang="en-US" altLang="ja-JP" sz="1200" b="0" kern="12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User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ication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hentication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cord Matching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05732" y="615490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8" name="Rectangle 187"/>
          <p:cNvSpPr/>
          <p:nvPr/>
        </p:nvSpPr>
        <p:spPr>
          <a:xfrm>
            <a:off x="5701637" y="3092283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5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5</a:t>
            </a:r>
            <a:endParaRPr lang="en-GB" sz="5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5698963" y="335516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5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5</a:t>
            </a:r>
            <a:endParaRPr lang="en-GB" sz="5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6363348" y="3871293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7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1</a:t>
            </a:r>
            <a:endParaRPr lang="en-GB" sz="7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6627728" y="3607822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5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/06</a:t>
            </a:r>
            <a:endParaRPr lang="en-GB" sz="5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680807" y="1982526"/>
            <a:ext cx="1676729" cy="2826749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312039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en-GB" sz="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Identification, Authentication and Record Matching</a:t>
            </a:r>
            <a:endParaRPr lang="fr-BE" sz="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Functionality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632411" y="4501498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830680" y="3189741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79" name="Group 285"/>
          <p:cNvGrpSpPr>
            <a:grpSpLocks noChangeAspect="1"/>
          </p:cNvGrpSpPr>
          <p:nvPr/>
        </p:nvGrpSpPr>
        <p:grpSpPr bwMode="auto">
          <a:xfrm>
            <a:off x="962310" y="2799732"/>
            <a:ext cx="417174" cy="424013"/>
            <a:chOff x="1698" y="1441"/>
            <a:chExt cx="427" cy="434"/>
          </a:xfrm>
          <a:noFill/>
        </p:grpSpPr>
        <p:sp>
          <p:nvSpPr>
            <p:cNvPr id="181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7" name="Group 143"/>
          <p:cNvGrpSpPr>
            <a:grpSpLocks noChangeAspect="1"/>
          </p:cNvGrpSpPr>
          <p:nvPr/>
        </p:nvGrpSpPr>
        <p:grpSpPr bwMode="auto">
          <a:xfrm>
            <a:off x="1703842" y="2793663"/>
            <a:ext cx="420997" cy="427899"/>
            <a:chOff x="5310" y="1441"/>
            <a:chExt cx="427" cy="434"/>
          </a:xfrm>
          <a:noFill/>
        </p:grpSpPr>
        <p:sp>
          <p:nvSpPr>
            <p:cNvPr id="228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1" name="TextBox 260"/>
          <p:cNvSpPr txBox="1"/>
          <p:nvPr/>
        </p:nvSpPr>
        <p:spPr>
          <a:xfrm>
            <a:off x="1584567" y="3192346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566658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63" name="Group 285"/>
          <p:cNvGrpSpPr>
            <a:grpSpLocks noChangeAspect="1"/>
          </p:cNvGrpSpPr>
          <p:nvPr/>
        </p:nvGrpSpPr>
        <p:grpSpPr bwMode="auto">
          <a:xfrm>
            <a:off x="1314026" y="3614048"/>
            <a:ext cx="417174" cy="424013"/>
            <a:chOff x="1698" y="1441"/>
            <a:chExt cx="427" cy="434"/>
          </a:xfrm>
          <a:noFill/>
        </p:grpSpPr>
        <p:sp>
          <p:nvSpPr>
            <p:cNvPr id="264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2" name="TextBox 341"/>
          <p:cNvSpPr txBox="1"/>
          <p:nvPr/>
        </p:nvSpPr>
        <p:spPr>
          <a:xfrm>
            <a:off x="1193896" y="3997636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3407736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7129" y="4272089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5" name="Rectangle 344"/>
          <p:cNvSpPr/>
          <p:nvPr/>
        </p:nvSpPr>
        <p:spPr>
          <a:xfrm>
            <a:off x="7334709" y="387198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7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2</a:t>
            </a:r>
            <a:endParaRPr lang="en-GB" sz="7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6" name="Rectangle 345"/>
          <p:cNvSpPr/>
          <p:nvPr/>
        </p:nvSpPr>
        <p:spPr>
          <a:xfrm>
            <a:off x="8042418" y="3871524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7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3</a:t>
            </a:r>
            <a:endParaRPr lang="en-GB" sz="7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7" name="Rectangle 346"/>
          <p:cNvSpPr/>
          <p:nvPr/>
        </p:nvSpPr>
        <p:spPr>
          <a:xfrm>
            <a:off x="8863486" y="3871293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7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4</a:t>
            </a:r>
            <a:endParaRPr lang="en-GB" sz="7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2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9332173" y="1321474"/>
            <a:ext cx="2488682" cy="43858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grpSp>
        <p:nvGrpSpPr>
          <p:cNvPr id="786" name="Group 785"/>
          <p:cNvGrpSpPr/>
          <p:nvPr/>
        </p:nvGrpSpPr>
        <p:grpSpPr>
          <a:xfrm>
            <a:off x="8314214" y="1555192"/>
            <a:ext cx="2042220" cy="2761023"/>
            <a:chOff x="10337678" y="1473496"/>
            <a:chExt cx="2042220" cy="12808744"/>
          </a:xfrm>
        </p:grpSpPr>
        <p:sp>
          <p:nvSpPr>
            <p:cNvPr id="787" name="TextBox 786"/>
            <p:cNvSpPr txBox="1"/>
            <p:nvPr/>
          </p:nvSpPr>
          <p:spPr>
            <a:xfrm>
              <a:off x="10337678" y="1473496"/>
              <a:ext cx="2042220" cy="7038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788" name="Straight Connector 787"/>
            <p:cNvCxnSpPr/>
            <p:nvPr/>
          </p:nvCxnSpPr>
          <p:spPr>
            <a:xfrm flipV="1">
              <a:off x="11339513" y="2758642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327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464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7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7462386"/>
              </p:ext>
            </p:extLst>
          </p:nvPr>
        </p:nvGraphicFramePr>
        <p:xfrm>
          <a:off x="2711352" y="1972826"/>
          <a:ext cx="8545931" cy="390814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54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8516331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7423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seline Specification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319822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Specification (TOOP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Formal Handover (TOOP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/Consolidation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tended Functionality</a:t>
                      </a: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6117864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29557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Requirements and Scoping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Go / No Go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Specification (if go) 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</a:tbl>
          </a:graphicData>
        </a:graphic>
      </p:graphicFrame>
      <p:sp>
        <p:nvSpPr>
          <p:cNvPr id="197" name="Rectangle 11"/>
          <p:cNvSpPr>
            <a:spLocks noChangeArrowheads="1"/>
          </p:cNvSpPr>
          <p:nvPr/>
        </p:nvSpPr>
        <p:spPr bwMode="auto">
          <a:xfrm>
            <a:off x="4264762" y="3631397"/>
            <a:ext cx="3994045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Evidence Exchange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91" name="Rectangle 190"/>
          <p:cNvSpPr/>
          <p:nvPr/>
        </p:nvSpPr>
        <p:spPr>
          <a:xfrm>
            <a:off x="5222798" y="568203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1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8258807" y="3601284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5" name="Rectangle 184"/>
          <p:cNvSpPr/>
          <p:nvPr/>
        </p:nvSpPr>
        <p:spPr>
          <a:xfrm>
            <a:off x="5036430" y="4644569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6" name="Rectangle 11"/>
          <p:cNvSpPr>
            <a:spLocks noChangeArrowheads="1"/>
          </p:cNvSpPr>
          <p:nvPr/>
        </p:nvSpPr>
        <p:spPr bwMode="auto">
          <a:xfrm>
            <a:off x="4978447" y="4936632"/>
            <a:ext cx="208052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6879737" y="490012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7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039579" y="3334330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6147513" y="567533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6853127" y="567868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6878522" y="516956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7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38375" y="983727"/>
            <a:ext cx="9126227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y for evidence request/response; exchange protocol, data model and format</a:t>
            </a:r>
          </a:p>
        </p:txBody>
      </p:sp>
      <p:sp>
        <p:nvSpPr>
          <p:cNvPr id="211" name="Rectangle 11"/>
          <p:cNvSpPr>
            <a:spLocks noChangeArrowheads="1"/>
          </p:cNvSpPr>
          <p:nvPr/>
        </p:nvSpPr>
        <p:spPr bwMode="auto">
          <a:xfrm>
            <a:off x="5638212" y="3893042"/>
            <a:ext cx="2837615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680807" y="1982525"/>
            <a:ext cx="1676729" cy="3898445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312039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Functionality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632411" y="5502146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830680" y="3155238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83" name="Group 285"/>
          <p:cNvGrpSpPr>
            <a:grpSpLocks noChangeAspect="1"/>
          </p:cNvGrpSpPr>
          <p:nvPr/>
        </p:nvGrpSpPr>
        <p:grpSpPr bwMode="auto">
          <a:xfrm>
            <a:off x="962310" y="2765229"/>
            <a:ext cx="417174" cy="424013"/>
            <a:chOff x="1698" y="1441"/>
            <a:chExt cx="427" cy="434"/>
          </a:xfrm>
          <a:noFill/>
        </p:grpSpPr>
        <p:sp>
          <p:nvSpPr>
            <p:cNvPr id="184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4" name="Group 143"/>
          <p:cNvGrpSpPr>
            <a:grpSpLocks noChangeAspect="1"/>
          </p:cNvGrpSpPr>
          <p:nvPr/>
        </p:nvGrpSpPr>
        <p:grpSpPr bwMode="auto">
          <a:xfrm>
            <a:off x="1703842" y="2759160"/>
            <a:ext cx="420997" cy="427899"/>
            <a:chOff x="5310" y="1441"/>
            <a:chExt cx="427" cy="434"/>
          </a:xfrm>
          <a:noFill/>
        </p:grpSpPr>
        <p:sp>
          <p:nvSpPr>
            <p:cNvPr id="235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7" name="TextBox 266"/>
          <p:cNvSpPr txBox="1"/>
          <p:nvPr/>
        </p:nvSpPr>
        <p:spPr>
          <a:xfrm>
            <a:off x="1584567" y="3157843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601165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69" name="Group 285"/>
          <p:cNvGrpSpPr>
            <a:grpSpLocks noChangeAspect="1"/>
          </p:cNvGrpSpPr>
          <p:nvPr/>
        </p:nvGrpSpPr>
        <p:grpSpPr bwMode="auto">
          <a:xfrm>
            <a:off x="1314026" y="4511210"/>
            <a:ext cx="417174" cy="424013"/>
            <a:chOff x="1698" y="1441"/>
            <a:chExt cx="427" cy="434"/>
          </a:xfrm>
          <a:noFill/>
        </p:grpSpPr>
        <p:sp>
          <p:nvSpPr>
            <p:cNvPr id="270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8" name="TextBox 347"/>
          <p:cNvSpPr txBox="1"/>
          <p:nvPr/>
        </p:nvSpPr>
        <p:spPr>
          <a:xfrm>
            <a:off x="1193896" y="4894798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4304898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7129" y="5272737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3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8258807" y="3859127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3434031"/>
            <a:ext cx="1476000" cy="14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OP</a:t>
            </a:r>
            <a:endParaRPr kumimoji="0" lang="fr-B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1193148" y="4077785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grpSp>
        <p:nvGrpSpPr>
          <p:cNvPr id="315" name="Group 285"/>
          <p:cNvGrpSpPr>
            <a:grpSpLocks noChangeAspect="1"/>
          </p:cNvGrpSpPr>
          <p:nvPr/>
        </p:nvGrpSpPr>
        <p:grpSpPr bwMode="auto">
          <a:xfrm>
            <a:off x="1314026" y="3678388"/>
            <a:ext cx="417174" cy="424013"/>
            <a:chOff x="1698" y="1441"/>
            <a:chExt cx="427" cy="434"/>
          </a:xfrm>
          <a:noFill/>
        </p:grpSpPr>
        <p:sp>
          <p:nvSpPr>
            <p:cNvPr id="316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1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2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3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5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6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7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8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9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3" name="Rectangle 172"/>
          <p:cNvSpPr/>
          <p:nvPr/>
        </p:nvSpPr>
        <p:spPr>
          <a:xfrm>
            <a:off x="9178954" y="1729738"/>
            <a:ext cx="2488682" cy="43858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grpSp>
        <p:nvGrpSpPr>
          <p:cNvPr id="137" name="Group 136"/>
          <p:cNvGrpSpPr/>
          <p:nvPr/>
        </p:nvGrpSpPr>
        <p:grpSpPr>
          <a:xfrm>
            <a:off x="8147292" y="1473049"/>
            <a:ext cx="2042220" cy="4562228"/>
            <a:chOff x="10337678" y="1985018"/>
            <a:chExt cx="2042220" cy="12297222"/>
          </a:xfrm>
        </p:grpSpPr>
        <p:sp>
          <p:nvSpPr>
            <p:cNvPr id="138" name="TextBox 137"/>
            <p:cNvSpPr txBox="1"/>
            <p:nvPr/>
          </p:nvSpPr>
          <p:spPr>
            <a:xfrm>
              <a:off x="10337678" y="1985018"/>
              <a:ext cx="2042220" cy="703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139" name="Straight Connector 138"/>
            <p:cNvCxnSpPr/>
            <p:nvPr/>
          </p:nvCxnSpPr>
          <p:spPr>
            <a:xfrm flipV="1">
              <a:off x="11339513" y="2758642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tangle 11"/>
          <p:cNvSpPr>
            <a:spLocks noChangeArrowheads="1"/>
          </p:cNvSpPr>
          <p:nvPr/>
        </p:nvSpPr>
        <p:spPr bwMode="auto">
          <a:xfrm>
            <a:off x="8443540" y="4143884"/>
            <a:ext cx="1980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10359462" y="4107297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0" name="Rectangle 11"/>
          <p:cNvSpPr>
            <a:spLocks noChangeArrowheads="1"/>
          </p:cNvSpPr>
          <p:nvPr/>
        </p:nvSpPr>
        <p:spPr bwMode="auto">
          <a:xfrm>
            <a:off x="7029850" y="5452389"/>
            <a:ext cx="3545612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10402678" y="5431611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8934631" y="5683463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9639671" y="568873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10406231" y="568203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noFill/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683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063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4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Design Work Package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>
          <a:xfrm>
            <a:off x="941722" y="1463626"/>
            <a:ext cx="10065584" cy="4282265"/>
          </a:xfrm>
        </p:spPr>
        <p:txBody>
          <a:bodyPr anchor="t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P Technical System High Level Architecture and Evidence Exchange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P Blueprint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idence Exchange Data Model (with Functionality Work Package)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ntral Systems and their Interfaces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erion &amp; Evidence Type Rule Base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ervice Directory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istry of Authorities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antic Repository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tion to other EU Systems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itioning, scoping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etings</a:t>
            </a:r>
          </a:p>
          <a:p>
            <a:pPr marL="857250" lvl="1" indent="-171450"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P-level and/or per Topic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aison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GB" sz="14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751940" y="6405344"/>
            <a:ext cx="438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Proposed dates and expected of outputs are subject to chan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456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40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7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75725"/>
              </p:ext>
            </p:extLst>
          </p:nvPr>
        </p:nvGraphicFramePr>
        <p:xfrm>
          <a:off x="2729870" y="2010505"/>
          <a:ext cx="8545931" cy="26054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54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3217074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426702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WP Initiation Spac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154834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 (OOP Blueprint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d version (1.X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438302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d version (2.X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d version (Final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39" name="Rectangle 11"/>
          <p:cNvSpPr>
            <a:spLocks noChangeArrowheads="1"/>
          </p:cNvSpPr>
          <p:nvPr/>
        </p:nvSpPr>
        <p:spPr bwMode="auto">
          <a:xfrm>
            <a:off x="4575147" y="3669228"/>
            <a:ext cx="432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Technical System Architecture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01" name="Rectangle 200"/>
          <p:cNvSpPr/>
          <p:nvPr/>
        </p:nvSpPr>
        <p:spPr>
          <a:xfrm>
            <a:off x="5003790" y="362907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8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5460991" y="440445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1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6167100" y="4403459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6854015" y="439790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5232968" y="3360525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7" name="Rectangle 11"/>
          <p:cNvSpPr>
            <a:spLocks noChangeArrowheads="1"/>
          </p:cNvSpPr>
          <p:nvPr/>
        </p:nvSpPr>
        <p:spPr bwMode="auto">
          <a:xfrm>
            <a:off x="7845325" y="3913492"/>
            <a:ext cx="576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680807" y="1982526"/>
            <a:ext cx="1676729" cy="2904379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312039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fr-BE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ystem Architectur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Technical Design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32411" y="4579128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830680" y="3215619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75" name="Group 285"/>
          <p:cNvGrpSpPr>
            <a:grpSpLocks noChangeAspect="1"/>
          </p:cNvGrpSpPr>
          <p:nvPr/>
        </p:nvGrpSpPr>
        <p:grpSpPr bwMode="auto">
          <a:xfrm>
            <a:off x="962310" y="2825610"/>
            <a:ext cx="417174" cy="424013"/>
            <a:chOff x="1698" y="1441"/>
            <a:chExt cx="427" cy="434"/>
          </a:xfrm>
          <a:noFill/>
        </p:grpSpPr>
        <p:sp>
          <p:nvSpPr>
            <p:cNvPr id="176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0" name="Group 143"/>
          <p:cNvGrpSpPr>
            <a:grpSpLocks noChangeAspect="1"/>
          </p:cNvGrpSpPr>
          <p:nvPr/>
        </p:nvGrpSpPr>
        <p:grpSpPr bwMode="auto">
          <a:xfrm>
            <a:off x="1703842" y="2819541"/>
            <a:ext cx="420997" cy="427899"/>
            <a:chOff x="5310" y="1441"/>
            <a:chExt cx="427" cy="434"/>
          </a:xfrm>
          <a:noFill/>
        </p:grpSpPr>
        <p:sp>
          <p:nvSpPr>
            <p:cNvPr id="211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5" name="TextBox 254"/>
          <p:cNvSpPr txBox="1"/>
          <p:nvPr/>
        </p:nvSpPr>
        <p:spPr>
          <a:xfrm>
            <a:off x="1584567" y="3218224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592536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57" name="Group 285"/>
          <p:cNvGrpSpPr>
            <a:grpSpLocks noChangeAspect="1"/>
          </p:cNvGrpSpPr>
          <p:nvPr/>
        </p:nvGrpSpPr>
        <p:grpSpPr bwMode="auto">
          <a:xfrm>
            <a:off x="1314026" y="3700319"/>
            <a:ext cx="417174" cy="424013"/>
            <a:chOff x="1698" y="1441"/>
            <a:chExt cx="427" cy="434"/>
          </a:xfrm>
          <a:noFill/>
        </p:grpSpPr>
        <p:sp>
          <p:nvSpPr>
            <p:cNvPr id="258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193896" y="4083907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3494007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7129" y="4349719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2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8303203" y="3875717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5235021" y="311677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9169613" y="1321474"/>
            <a:ext cx="2488682" cy="43858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8952080" y="440445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9658189" y="440445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10435335" y="4409131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8" name="Rectangle 11"/>
          <p:cNvSpPr>
            <a:spLocks noChangeArrowheads="1"/>
          </p:cNvSpPr>
          <p:nvPr/>
        </p:nvSpPr>
        <p:spPr bwMode="auto">
          <a:xfrm>
            <a:off x="10219335" y="4179044"/>
            <a:ext cx="432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8164544" y="1585186"/>
            <a:ext cx="2042220" cy="3309008"/>
            <a:chOff x="10337678" y="2279669"/>
            <a:chExt cx="2042220" cy="12559142"/>
          </a:xfrm>
        </p:grpSpPr>
        <p:sp>
          <p:nvSpPr>
            <p:cNvPr id="130" name="TextBox 129"/>
            <p:cNvSpPr txBox="1"/>
            <p:nvPr/>
          </p:nvSpPr>
          <p:spPr>
            <a:xfrm>
              <a:off x="10337678" y="2279669"/>
              <a:ext cx="2042220" cy="703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131" name="Straight Connector 130"/>
            <p:cNvCxnSpPr/>
            <p:nvPr/>
          </p:nvCxnSpPr>
          <p:spPr>
            <a:xfrm flipV="1">
              <a:off x="11339513" y="3315213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Rectangle 212"/>
          <p:cNvSpPr/>
          <p:nvPr/>
        </p:nvSpPr>
        <p:spPr>
          <a:xfrm>
            <a:off x="10491339" y="4140255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378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68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7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21533"/>
              </p:ext>
            </p:extLst>
          </p:nvPr>
        </p:nvGraphicFramePr>
        <p:xfrm>
          <a:off x="2711352" y="1972826"/>
          <a:ext cx="8545931" cy="390814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54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9345271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171004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seline Specifica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Specification (TOOP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Formal Handover (TOOP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/Consolidation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tended Functionalit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8562186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29557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Requirements and Scoping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Go / No Go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Specification (if go) 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</a:tbl>
          </a:graphicData>
        </a:graphic>
      </p:graphicFrame>
      <p:sp>
        <p:nvSpPr>
          <p:cNvPr id="197" name="Rectangle 11"/>
          <p:cNvSpPr>
            <a:spLocks noChangeArrowheads="1"/>
          </p:cNvSpPr>
          <p:nvPr/>
        </p:nvSpPr>
        <p:spPr bwMode="auto">
          <a:xfrm>
            <a:off x="4264762" y="3622776"/>
            <a:ext cx="3994045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Central Systems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91" name="Rectangle 190"/>
          <p:cNvSpPr/>
          <p:nvPr/>
        </p:nvSpPr>
        <p:spPr>
          <a:xfrm>
            <a:off x="5450701" y="567393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1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8258807" y="3592664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6" name="Rectangle 11"/>
          <p:cNvSpPr>
            <a:spLocks noChangeArrowheads="1"/>
          </p:cNvSpPr>
          <p:nvPr/>
        </p:nvSpPr>
        <p:spPr bwMode="auto">
          <a:xfrm>
            <a:off x="4978447" y="4928012"/>
            <a:ext cx="208052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6879737" y="489150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7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111193" y="3330495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6147513" y="566671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6842967" y="566671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6878522" y="516094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7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50025" y="886099"/>
            <a:ext cx="10407258" cy="528040"/>
          </a:xfrm>
        </p:spPr>
        <p:txBody>
          <a:bodyPr vert="horz" lIns="0" tIns="0" rIns="0" bIns="0" rtlCol="0"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2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on Planning covering the Evidence Exchange, Criterion &amp; Evidence Type Rule Base, Data Service Directory, Semantic Repository architectural elements topics</a:t>
            </a:r>
          </a:p>
        </p:txBody>
      </p:sp>
      <p:sp>
        <p:nvSpPr>
          <p:cNvPr id="211" name="Rectangle 11"/>
          <p:cNvSpPr>
            <a:spLocks noChangeArrowheads="1"/>
          </p:cNvSpPr>
          <p:nvPr/>
        </p:nvSpPr>
        <p:spPr bwMode="auto">
          <a:xfrm>
            <a:off x="5638212" y="3901673"/>
            <a:ext cx="2837615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8262044" y="3853876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3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680807" y="1982525"/>
            <a:ext cx="1676729" cy="3898445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312039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M, CETRB, DSD, SR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Technical Design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632411" y="5502146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830680" y="3155238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49" name="Group 285"/>
          <p:cNvGrpSpPr>
            <a:grpSpLocks noChangeAspect="1"/>
          </p:cNvGrpSpPr>
          <p:nvPr/>
        </p:nvGrpSpPr>
        <p:grpSpPr bwMode="auto">
          <a:xfrm>
            <a:off x="962310" y="2765229"/>
            <a:ext cx="417174" cy="424013"/>
            <a:chOff x="1698" y="1441"/>
            <a:chExt cx="427" cy="434"/>
          </a:xfrm>
          <a:noFill/>
        </p:grpSpPr>
        <p:sp>
          <p:nvSpPr>
            <p:cNvPr id="150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4" name="Group 143"/>
          <p:cNvGrpSpPr>
            <a:grpSpLocks noChangeAspect="1"/>
          </p:cNvGrpSpPr>
          <p:nvPr/>
        </p:nvGrpSpPr>
        <p:grpSpPr bwMode="auto">
          <a:xfrm>
            <a:off x="1703842" y="2759160"/>
            <a:ext cx="420997" cy="427899"/>
            <a:chOff x="5310" y="1441"/>
            <a:chExt cx="427" cy="434"/>
          </a:xfrm>
          <a:noFill/>
        </p:grpSpPr>
        <p:sp>
          <p:nvSpPr>
            <p:cNvPr id="285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7" name="TextBox 316"/>
          <p:cNvSpPr txBox="1"/>
          <p:nvPr/>
        </p:nvSpPr>
        <p:spPr>
          <a:xfrm>
            <a:off x="1584567" y="3157843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601165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319" name="Group 285"/>
          <p:cNvGrpSpPr>
            <a:grpSpLocks noChangeAspect="1"/>
          </p:cNvGrpSpPr>
          <p:nvPr/>
        </p:nvGrpSpPr>
        <p:grpSpPr bwMode="auto">
          <a:xfrm>
            <a:off x="1314026" y="4511210"/>
            <a:ext cx="417174" cy="424013"/>
            <a:chOff x="1698" y="1441"/>
            <a:chExt cx="427" cy="434"/>
          </a:xfrm>
          <a:noFill/>
        </p:grpSpPr>
        <p:sp>
          <p:nvSpPr>
            <p:cNvPr id="320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1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2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3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5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6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7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8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9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2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3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4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5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76" name="TextBox 375"/>
          <p:cNvSpPr txBox="1"/>
          <p:nvPr/>
        </p:nvSpPr>
        <p:spPr>
          <a:xfrm>
            <a:off x="1193896" y="4894798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4304898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7129" y="5272737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3434031"/>
            <a:ext cx="1476000" cy="14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OP</a:t>
            </a:r>
            <a:endParaRPr kumimoji="0" lang="fr-B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0" name="TextBox 379"/>
          <p:cNvSpPr txBox="1"/>
          <p:nvPr/>
        </p:nvSpPr>
        <p:spPr>
          <a:xfrm>
            <a:off x="1193148" y="4077785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grpSp>
        <p:nvGrpSpPr>
          <p:cNvPr id="381" name="Group 285"/>
          <p:cNvGrpSpPr>
            <a:grpSpLocks noChangeAspect="1"/>
          </p:cNvGrpSpPr>
          <p:nvPr/>
        </p:nvGrpSpPr>
        <p:grpSpPr bwMode="auto">
          <a:xfrm>
            <a:off x="1314026" y="3678388"/>
            <a:ext cx="417174" cy="424013"/>
            <a:chOff x="1698" y="1441"/>
            <a:chExt cx="427" cy="434"/>
          </a:xfrm>
          <a:noFill/>
        </p:grpSpPr>
        <p:sp>
          <p:nvSpPr>
            <p:cNvPr id="382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3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4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5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6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7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8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9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0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1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5" name="Rectangle 174"/>
          <p:cNvSpPr/>
          <p:nvPr/>
        </p:nvSpPr>
        <p:spPr>
          <a:xfrm>
            <a:off x="5106231" y="4633238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9182192" y="1631540"/>
            <a:ext cx="2488682" cy="43858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182" name="Rectangle 11"/>
          <p:cNvSpPr>
            <a:spLocks noChangeArrowheads="1"/>
          </p:cNvSpPr>
          <p:nvPr/>
        </p:nvSpPr>
        <p:spPr bwMode="auto">
          <a:xfrm>
            <a:off x="8460792" y="4143890"/>
            <a:ext cx="1944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00" name="Rectangle 11"/>
          <p:cNvSpPr>
            <a:spLocks noChangeArrowheads="1"/>
          </p:cNvSpPr>
          <p:nvPr/>
        </p:nvSpPr>
        <p:spPr bwMode="auto">
          <a:xfrm>
            <a:off x="7029850" y="5469647"/>
            <a:ext cx="3545612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noFill/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10402678" y="5422991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8934631" y="5683469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9639671" y="5675101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10406231" y="5670549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10359462" y="4098677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8164544" y="1473050"/>
            <a:ext cx="2042220" cy="4677353"/>
            <a:chOff x="10337678" y="2661463"/>
            <a:chExt cx="2042220" cy="12177348"/>
          </a:xfrm>
        </p:grpSpPr>
        <p:sp>
          <p:nvSpPr>
            <p:cNvPr id="137" name="TextBox 136"/>
            <p:cNvSpPr txBox="1"/>
            <p:nvPr/>
          </p:nvSpPr>
          <p:spPr>
            <a:xfrm>
              <a:off x="10337678" y="2661463"/>
              <a:ext cx="2042220" cy="703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138" name="Straight Connector 137"/>
            <p:cNvCxnSpPr/>
            <p:nvPr/>
          </p:nvCxnSpPr>
          <p:spPr>
            <a:xfrm flipV="1">
              <a:off x="11339513" y="3315213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2257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7057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sz="2000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7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97311"/>
              </p:ext>
            </p:extLst>
          </p:nvPr>
        </p:nvGraphicFramePr>
        <p:xfrm>
          <a:off x="2729870" y="2024594"/>
          <a:ext cx="8545931" cy="24236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54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305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</a:tblGrid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27079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842708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Inventory and assessment of existing system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3C8C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GB" sz="7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ocumentation that explains how existing systems are used for OOP purposes</a:t>
                      </a:r>
                      <a:endPara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Update/Consolidation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</a:tbl>
          </a:graphicData>
        </a:graphic>
      </p:graphicFrame>
      <p:sp>
        <p:nvSpPr>
          <p:cNvPr id="197" name="Rectangle 11"/>
          <p:cNvSpPr>
            <a:spLocks noChangeArrowheads="1"/>
          </p:cNvSpPr>
          <p:nvPr/>
        </p:nvSpPr>
        <p:spPr bwMode="auto">
          <a:xfrm>
            <a:off x="4987333" y="3425122"/>
            <a:ext cx="1394698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Links to </a:t>
            </a:r>
            <a:r>
              <a:rPr lang="nl-BE" sz="2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</a:t>
            </a:r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U Systems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9" name="Rectangle 178"/>
          <p:cNvSpPr/>
          <p:nvPr/>
        </p:nvSpPr>
        <p:spPr>
          <a:xfrm>
            <a:off x="6166031" y="3385313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124117" y="3126359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38200" y="963547"/>
            <a:ext cx="7814710" cy="274945"/>
          </a:xfrm>
        </p:spPr>
        <p:txBody>
          <a:bodyPr vert="horz" lIns="0" tIns="0" rIns="0" bIns="0" rtlCol="0"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iew of existing systems and their relation to OOP technical system</a:t>
            </a:r>
          </a:p>
        </p:txBody>
      </p:sp>
      <p:sp>
        <p:nvSpPr>
          <p:cNvPr id="211" name="Rectangle 11"/>
          <p:cNvSpPr>
            <a:spLocks noChangeArrowheads="1"/>
          </p:cNvSpPr>
          <p:nvPr/>
        </p:nvSpPr>
        <p:spPr bwMode="auto">
          <a:xfrm>
            <a:off x="6366402" y="3683016"/>
            <a:ext cx="2107396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8277325" y="3646860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5469219" y="4224778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1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6166031" y="421755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6861485" y="4227717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680807" y="1982526"/>
            <a:ext cx="1676729" cy="2946185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312039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s to </a:t>
            </a:r>
            <a:r>
              <a:rPr lang="fr-BE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</a:t>
            </a:r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U </a:t>
            </a:r>
            <a:r>
              <a:rPr lang="fr-BE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s</a:t>
            </a:r>
            <a:endParaRPr lang="fr-BE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Technical Design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632411" y="4630893"/>
            <a:ext cx="1736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830680" y="3241497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77" name="Group 285"/>
          <p:cNvGrpSpPr>
            <a:grpSpLocks noChangeAspect="1"/>
          </p:cNvGrpSpPr>
          <p:nvPr/>
        </p:nvGrpSpPr>
        <p:grpSpPr bwMode="auto">
          <a:xfrm>
            <a:off x="962310" y="2851488"/>
            <a:ext cx="417174" cy="424013"/>
            <a:chOff x="1698" y="1441"/>
            <a:chExt cx="427" cy="434"/>
          </a:xfrm>
          <a:noFill/>
        </p:grpSpPr>
        <p:sp>
          <p:nvSpPr>
            <p:cNvPr id="184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0" name="Group 143"/>
          <p:cNvGrpSpPr>
            <a:grpSpLocks noChangeAspect="1"/>
          </p:cNvGrpSpPr>
          <p:nvPr/>
        </p:nvGrpSpPr>
        <p:grpSpPr bwMode="auto">
          <a:xfrm>
            <a:off x="1703842" y="2845419"/>
            <a:ext cx="420997" cy="427899"/>
            <a:chOff x="5310" y="1441"/>
            <a:chExt cx="427" cy="434"/>
          </a:xfrm>
          <a:noFill/>
        </p:grpSpPr>
        <p:sp>
          <p:nvSpPr>
            <p:cNvPr id="221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5" name="TextBox 254"/>
          <p:cNvSpPr txBox="1"/>
          <p:nvPr/>
        </p:nvSpPr>
        <p:spPr>
          <a:xfrm>
            <a:off x="1584567" y="3244102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618414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57" name="Group 285"/>
          <p:cNvGrpSpPr>
            <a:grpSpLocks noChangeAspect="1"/>
          </p:cNvGrpSpPr>
          <p:nvPr/>
        </p:nvGrpSpPr>
        <p:grpSpPr bwMode="auto">
          <a:xfrm>
            <a:off x="1314026" y="3752084"/>
            <a:ext cx="417174" cy="424013"/>
            <a:chOff x="1698" y="1441"/>
            <a:chExt cx="427" cy="434"/>
          </a:xfrm>
          <a:noFill/>
        </p:grpSpPr>
        <p:sp>
          <p:nvSpPr>
            <p:cNvPr id="258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193897" y="4135672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3545772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7129" y="4401484"/>
            <a:ext cx="1660407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12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29" y="1502817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9181412" y="1502817"/>
            <a:ext cx="2488682" cy="43858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164" name="Rectangle 11"/>
          <p:cNvSpPr>
            <a:spLocks noChangeArrowheads="1"/>
          </p:cNvSpPr>
          <p:nvPr/>
        </p:nvSpPr>
        <p:spPr bwMode="auto">
          <a:xfrm>
            <a:off x="8493325" y="4014234"/>
            <a:ext cx="2107396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10404248" y="3978078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1" name="Rectangle 180"/>
          <p:cNvSpPr/>
          <p:nvPr/>
        </p:nvSpPr>
        <p:spPr>
          <a:xfrm>
            <a:off x="8953149" y="4234309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9658189" y="4225941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3" name="Rectangle 182"/>
          <p:cNvSpPr/>
          <p:nvPr/>
        </p:nvSpPr>
        <p:spPr>
          <a:xfrm>
            <a:off x="10424749" y="4231549"/>
            <a:ext cx="432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6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8164544" y="1619703"/>
            <a:ext cx="2042220" cy="3309008"/>
            <a:chOff x="10337678" y="2279669"/>
            <a:chExt cx="2042220" cy="12559142"/>
          </a:xfrm>
        </p:grpSpPr>
        <p:sp>
          <p:nvSpPr>
            <p:cNvPr id="131" name="TextBox 130"/>
            <p:cNvSpPr txBox="1"/>
            <p:nvPr/>
          </p:nvSpPr>
          <p:spPr>
            <a:xfrm>
              <a:off x="10337678" y="2279669"/>
              <a:ext cx="2042220" cy="703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132" name="Straight Connector 131"/>
            <p:cNvCxnSpPr/>
            <p:nvPr/>
          </p:nvCxnSpPr>
          <p:spPr>
            <a:xfrm flipV="1">
              <a:off x="11339513" y="3315213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418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3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4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</a:t>
            </a:r>
            <a:r>
              <a:rPr lang="nl-B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antics</a:t>
            </a:r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ormats </a:t>
            </a:r>
            <a:r>
              <a:rPr lang="nl-B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ity</a:t>
            </a:r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ork Package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751940" y="6405344"/>
            <a:ext cx="438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Proposed dates and expected of outputs are subject to change</a:t>
            </a:r>
          </a:p>
        </p:txBody>
      </p:sp>
      <p:sp>
        <p:nvSpPr>
          <p:cNvPr id="12" name="Text Placeholder 7"/>
          <p:cNvSpPr txBox="1">
            <a:spLocks/>
          </p:cNvSpPr>
          <p:nvPr/>
        </p:nvSpPr>
        <p:spPr>
          <a:xfrm>
            <a:off x="839788" y="1588934"/>
            <a:ext cx="6708325" cy="39578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Work Package will have to define the semantic requirements for the exchange for each type of evidence.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071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285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ic: Methodology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4" name="Rectangle 173"/>
          <p:cNvSpPr/>
          <p:nvPr/>
        </p:nvSpPr>
        <p:spPr>
          <a:xfrm>
            <a:off x="680807" y="1982526"/>
            <a:ext cx="1676729" cy="4182856"/>
          </a:xfrm>
          <a:prstGeom prst="rect">
            <a:avLst/>
          </a:prstGeom>
          <a:noFill/>
          <a:ln>
            <a:solidFill>
              <a:srgbClr val="F4C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IE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694060" y="2424177"/>
            <a:ext cx="1656000" cy="180000"/>
          </a:xfrm>
          <a:prstGeom prst="rect">
            <a:avLst/>
          </a:prstGeom>
          <a:solidFill>
            <a:srgbClr val="FBECAC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fr-BE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hodology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4899" y="2081434"/>
            <a:ext cx="1656000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P: Data </a:t>
            </a:r>
            <a:r>
              <a:rPr lang="nl-BE" sz="9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antics</a:t>
            </a:r>
            <a:r>
              <a:rPr lang="nl-BE" sz="9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ormats &amp; </a:t>
            </a:r>
            <a:r>
              <a:rPr lang="nl-BE" sz="9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ity</a:t>
            </a:r>
            <a:endParaRPr lang="en-GB" sz="9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632109" y="5546386"/>
            <a:ext cx="173643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7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antic related expert, and business or domain specific expert for each evidence and/or procedure</a:t>
            </a:r>
            <a:endParaRPr lang="nl-BE" sz="7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830680" y="3370890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pporteur</a:t>
            </a:r>
          </a:p>
        </p:txBody>
      </p:sp>
      <p:grpSp>
        <p:nvGrpSpPr>
          <p:cNvPr id="181" name="Group 285"/>
          <p:cNvGrpSpPr>
            <a:grpSpLocks noChangeAspect="1"/>
          </p:cNvGrpSpPr>
          <p:nvPr/>
        </p:nvGrpSpPr>
        <p:grpSpPr bwMode="auto">
          <a:xfrm>
            <a:off x="962310" y="2980881"/>
            <a:ext cx="417174" cy="424013"/>
            <a:chOff x="1698" y="1441"/>
            <a:chExt cx="427" cy="434"/>
          </a:xfrm>
          <a:noFill/>
        </p:grpSpPr>
        <p:sp>
          <p:nvSpPr>
            <p:cNvPr id="182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8" name="Group 143"/>
          <p:cNvGrpSpPr>
            <a:grpSpLocks noChangeAspect="1"/>
          </p:cNvGrpSpPr>
          <p:nvPr/>
        </p:nvGrpSpPr>
        <p:grpSpPr bwMode="auto">
          <a:xfrm>
            <a:off x="1703842" y="2974812"/>
            <a:ext cx="420997" cy="427899"/>
            <a:chOff x="5310" y="1441"/>
            <a:chExt cx="427" cy="434"/>
          </a:xfrm>
          <a:noFill/>
        </p:grpSpPr>
        <p:sp>
          <p:nvSpPr>
            <p:cNvPr id="229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2" name="TextBox 261"/>
          <p:cNvSpPr txBox="1"/>
          <p:nvPr/>
        </p:nvSpPr>
        <p:spPr>
          <a:xfrm>
            <a:off x="1584567" y="3373495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7504" y="2747807"/>
            <a:ext cx="1476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</p:txBody>
      </p:sp>
      <p:grpSp>
        <p:nvGrpSpPr>
          <p:cNvPr id="264" name="Group 285"/>
          <p:cNvGrpSpPr>
            <a:grpSpLocks noChangeAspect="1"/>
          </p:cNvGrpSpPr>
          <p:nvPr/>
        </p:nvGrpSpPr>
        <p:grpSpPr bwMode="auto">
          <a:xfrm>
            <a:off x="1314026" y="4692341"/>
            <a:ext cx="417174" cy="424013"/>
            <a:chOff x="1698" y="1441"/>
            <a:chExt cx="427" cy="434"/>
          </a:xfrm>
          <a:noFill/>
        </p:grpSpPr>
        <p:sp>
          <p:nvSpPr>
            <p:cNvPr id="265" name="Oval 302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Oval 303"/>
            <p:cNvSpPr>
              <a:spLocks noChangeArrowheads="1"/>
            </p:cNvSpPr>
            <p:nvPr/>
          </p:nvSpPr>
          <p:spPr bwMode="auto">
            <a:xfrm>
              <a:off x="1724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86"/>
            <p:cNvSpPr>
              <a:spLocks/>
            </p:cNvSpPr>
            <p:nvPr/>
          </p:nvSpPr>
          <p:spPr bwMode="auto">
            <a:xfrm>
              <a:off x="1858" y="1642"/>
              <a:ext cx="107" cy="78"/>
            </a:xfrm>
            <a:custGeom>
              <a:avLst/>
              <a:gdLst>
                <a:gd name="T0" fmla="*/ 393 w 393"/>
                <a:gd name="T1" fmla="*/ 0 h 287"/>
                <a:gd name="T2" fmla="*/ 350 w 393"/>
                <a:gd name="T3" fmla="*/ 184 h 287"/>
                <a:gd name="T4" fmla="*/ 313 w 393"/>
                <a:gd name="T5" fmla="*/ 229 h 287"/>
                <a:gd name="T6" fmla="*/ 91 w 393"/>
                <a:gd name="T7" fmla="*/ 229 h 287"/>
                <a:gd name="T8" fmla="*/ 47 w 393"/>
                <a:gd name="T9" fmla="*/ 177 h 287"/>
                <a:gd name="T10" fmla="*/ 0 w 393"/>
                <a:gd name="T11" fmla="*/ 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3" h="287">
                  <a:moveTo>
                    <a:pt x="393" y="0"/>
                  </a:moveTo>
                  <a:cubicBezTo>
                    <a:pt x="391" y="74"/>
                    <a:pt x="375" y="137"/>
                    <a:pt x="350" y="184"/>
                  </a:cubicBezTo>
                  <a:cubicBezTo>
                    <a:pt x="340" y="201"/>
                    <a:pt x="327" y="216"/>
                    <a:pt x="313" y="229"/>
                  </a:cubicBezTo>
                  <a:cubicBezTo>
                    <a:pt x="250" y="287"/>
                    <a:pt x="153" y="287"/>
                    <a:pt x="91" y="229"/>
                  </a:cubicBezTo>
                  <a:cubicBezTo>
                    <a:pt x="74" y="213"/>
                    <a:pt x="59" y="196"/>
                    <a:pt x="47" y="177"/>
                  </a:cubicBezTo>
                  <a:cubicBezTo>
                    <a:pt x="17" y="126"/>
                    <a:pt x="1" y="68"/>
                    <a:pt x="0" y="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87"/>
            <p:cNvSpPr>
              <a:spLocks/>
            </p:cNvSpPr>
            <p:nvPr/>
          </p:nvSpPr>
          <p:spPr bwMode="auto">
            <a:xfrm>
              <a:off x="1960" y="1638"/>
              <a:ext cx="18" cy="39"/>
            </a:xfrm>
            <a:custGeom>
              <a:avLst/>
              <a:gdLst>
                <a:gd name="T0" fmla="*/ 22 w 67"/>
                <a:gd name="T1" fmla="*/ 7 h 142"/>
                <a:gd name="T2" fmla="*/ 51 w 67"/>
                <a:gd name="T3" fmla="*/ 67 h 142"/>
                <a:gd name="T4" fmla="*/ 0 w 67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142">
                  <a:moveTo>
                    <a:pt x="22" y="7"/>
                  </a:moveTo>
                  <a:cubicBezTo>
                    <a:pt x="22" y="7"/>
                    <a:pt x="67" y="0"/>
                    <a:pt x="51" y="67"/>
                  </a:cubicBezTo>
                  <a:cubicBezTo>
                    <a:pt x="34" y="133"/>
                    <a:pt x="0" y="142"/>
                    <a:pt x="0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88"/>
            <p:cNvSpPr>
              <a:spLocks/>
            </p:cNvSpPr>
            <p:nvPr/>
          </p:nvSpPr>
          <p:spPr bwMode="auto">
            <a:xfrm>
              <a:off x="1844" y="1638"/>
              <a:ext cx="20" cy="39"/>
            </a:xfrm>
            <a:custGeom>
              <a:avLst/>
              <a:gdLst>
                <a:gd name="T0" fmla="*/ 45 w 73"/>
                <a:gd name="T1" fmla="*/ 7 h 142"/>
                <a:gd name="T2" fmla="*/ 16 w 73"/>
                <a:gd name="T3" fmla="*/ 67 h 142"/>
                <a:gd name="T4" fmla="*/ 73 w 73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142">
                  <a:moveTo>
                    <a:pt x="45" y="7"/>
                  </a:moveTo>
                  <a:cubicBezTo>
                    <a:pt x="45" y="7"/>
                    <a:pt x="0" y="0"/>
                    <a:pt x="16" y="67"/>
                  </a:cubicBezTo>
                  <a:cubicBezTo>
                    <a:pt x="32" y="133"/>
                    <a:pt x="73" y="142"/>
                    <a:pt x="73" y="14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89"/>
            <p:cNvSpPr>
              <a:spLocks/>
            </p:cNvSpPr>
            <p:nvPr/>
          </p:nvSpPr>
          <p:spPr bwMode="auto">
            <a:xfrm>
              <a:off x="1885" y="1712"/>
              <a:ext cx="55" cy="56"/>
            </a:xfrm>
            <a:custGeom>
              <a:avLst/>
              <a:gdLst>
                <a:gd name="T0" fmla="*/ 19 w 199"/>
                <a:gd name="T1" fmla="*/ 0 h 206"/>
                <a:gd name="T2" fmla="*/ 10 w 199"/>
                <a:gd name="T3" fmla="*/ 122 h 206"/>
                <a:gd name="T4" fmla="*/ 103 w 199"/>
                <a:gd name="T5" fmla="*/ 206 h 206"/>
                <a:gd name="T6" fmla="*/ 185 w 199"/>
                <a:gd name="T7" fmla="*/ 122 h 206"/>
                <a:gd name="T8" fmla="*/ 177 w 199"/>
                <a:gd name="T9" fmla="*/ 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6">
                  <a:moveTo>
                    <a:pt x="19" y="0"/>
                  </a:moveTo>
                  <a:lnTo>
                    <a:pt x="10" y="122"/>
                  </a:lnTo>
                  <a:cubicBezTo>
                    <a:pt x="10" y="122"/>
                    <a:pt x="0" y="206"/>
                    <a:pt x="103" y="206"/>
                  </a:cubicBezTo>
                  <a:cubicBezTo>
                    <a:pt x="199" y="206"/>
                    <a:pt x="185" y="122"/>
                    <a:pt x="185" y="122"/>
                  </a:cubicBezTo>
                  <a:lnTo>
                    <a:pt x="177" y="3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90"/>
            <p:cNvSpPr>
              <a:spLocks/>
            </p:cNvSpPr>
            <p:nvPr/>
          </p:nvSpPr>
          <p:spPr bwMode="auto">
            <a:xfrm>
              <a:off x="1935" y="1722"/>
              <a:ext cx="84" cy="80"/>
            </a:xfrm>
            <a:custGeom>
              <a:avLst/>
              <a:gdLst>
                <a:gd name="T0" fmla="*/ 0 w 310"/>
                <a:gd name="T1" fmla="*/ 0 h 296"/>
                <a:gd name="T2" fmla="*/ 178 w 310"/>
                <a:gd name="T3" fmla="*/ 102 h 296"/>
                <a:gd name="T4" fmla="*/ 31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0" y="0"/>
                  </a:moveTo>
                  <a:cubicBezTo>
                    <a:pt x="0" y="0"/>
                    <a:pt x="87" y="57"/>
                    <a:pt x="178" y="102"/>
                  </a:cubicBezTo>
                  <a:cubicBezTo>
                    <a:pt x="276" y="151"/>
                    <a:pt x="303" y="241"/>
                    <a:pt x="31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ine 291"/>
            <p:cNvSpPr>
              <a:spLocks noChangeShapeType="1"/>
            </p:cNvSpPr>
            <p:nvPr/>
          </p:nvSpPr>
          <p:spPr bwMode="auto">
            <a:xfrm>
              <a:off x="1968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Line 292"/>
            <p:cNvSpPr>
              <a:spLocks noChangeShapeType="1"/>
            </p:cNvSpPr>
            <p:nvPr/>
          </p:nvSpPr>
          <p:spPr bwMode="auto">
            <a:xfrm flipH="1">
              <a:off x="1844" y="1805"/>
              <a:ext cx="11" cy="2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93"/>
            <p:cNvSpPr>
              <a:spLocks/>
            </p:cNvSpPr>
            <p:nvPr/>
          </p:nvSpPr>
          <p:spPr bwMode="auto">
            <a:xfrm>
              <a:off x="1804" y="1722"/>
              <a:ext cx="85" cy="80"/>
            </a:xfrm>
            <a:custGeom>
              <a:avLst/>
              <a:gdLst>
                <a:gd name="T0" fmla="*/ 310 w 310"/>
                <a:gd name="T1" fmla="*/ 0 h 296"/>
                <a:gd name="T2" fmla="*/ 132 w 310"/>
                <a:gd name="T3" fmla="*/ 102 h 296"/>
                <a:gd name="T4" fmla="*/ 0 w 310"/>
                <a:gd name="T5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" h="296">
                  <a:moveTo>
                    <a:pt x="310" y="0"/>
                  </a:moveTo>
                  <a:cubicBezTo>
                    <a:pt x="252" y="37"/>
                    <a:pt x="193" y="71"/>
                    <a:pt x="132" y="102"/>
                  </a:cubicBezTo>
                  <a:cubicBezTo>
                    <a:pt x="34" y="151"/>
                    <a:pt x="7" y="241"/>
                    <a:pt x="0" y="29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294"/>
            <p:cNvSpPr>
              <a:spLocks/>
            </p:cNvSpPr>
            <p:nvPr/>
          </p:nvSpPr>
          <p:spPr bwMode="auto">
            <a:xfrm>
              <a:off x="1871" y="1728"/>
              <a:ext cx="84" cy="52"/>
            </a:xfrm>
            <a:custGeom>
              <a:avLst/>
              <a:gdLst>
                <a:gd name="T0" fmla="*/ 31 w 307"/>
                <a:gd name="T1" fmla="*/ 5 h 193"/>
                <a:gd name="T2" fmla="*/ 151 w 307"/>
                <a:gd name="T3" fmla="*/ 187 h 193"/>
                <a:gd name="T4" fmla="*/ 267 w 307"/>
                <a:gd name="T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193">
                  <a:moveTo>
                    <a:pt x="31" y="5"/>
                  </a:moveTo>
                  <a:cubicBezTo>
                    <a:pt x="0" y="185"/>
                    <a:pt x="121" y="187"/>
                    <a:pt x="151" y="187"/>
                  </a:cubicBezTo>
                  <a:cubicBezTo>
                    <a:pt x="181" y="187"/>
                    <a:pt x="307" y="193"/>
                    <a:pt x="267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295"/>
            <p:cNvSpPr>
              <a:spLocks/>
            </p:cNvSpPr>
            <p:nvPr/>
          </p:nvSpPr>
          <p:spPr bwMode="auto">
            <a:xfrm>
              <a:off x="1894" y="1789"/>
              <a:ext cx="39" cy="4"/>
            </a:xfrm>
            <a:custGeom>
              <a:avLst/>
              <a:gdLst>
                <a:gd name="T0" fmla="*/ 0 w 142"/>
                <a:gd name="T1" fmla="*/ 0 h 15"/>
                <a:gd name="T2" fmla="*/ 72 w 142"/>
                <a:gd name="T3" fmla="*/ 14 h 15"/>
                <a:gd name="T4" fmla="*/ 142 w 14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5">
                  <a:moveTo>
                    <a:pt x="0" y="0"/>
                  </a:moveTo>
                  <a:cubicBezTo>
                    <a:pt x="22" y="10"/>
                    <a:pt x="47" y="15"/>
                    <a:pt x="72" y="14"/>
                  </a:cubicBezTo>
                  <a:cubicBezTo>
                    <a:pt x="96" y="15"/>
                    <a:pt x="120" y="10"/>
                    <a:pt x="14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296"/>
            <p:cNvSpPr>
              <a:spLocks/>
            </p:cNvSpPr>
            <p:nvPr/>
          </p:nvSpPr>
          <p:spPr bwMode="auto">
            <a:xfrm>
              <a:off x="1853" y="1598"/>
              <a:ext cx="18" cy="45"/>
            </a:xfrm>
            <a:custGeom>
              <a:avLst/>
              <a:gdLst>
                <a:gd name="T0" fmla="*/ 19 w 66"/>
                <a:gd name="T1" fmla="*/ 164 h 164"/>
                <a:gd name="T2" fmla="*/ 62 w 66"/>
                <a:gd name="T3" fmla="*/ 4 h 164"/>
                <a:gd name="T4" fmla="*/ 66 w 66"/>
                <a:gd name="T5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164">
                  <a:moveTo>
                    <a:pt x="19" y="164"/>
                  </a:moveTo>
                  <a:cubicBezTo>
                    <a:pt x="19" y="164"/>
                    <a:pt x="0" y="59"/>
                    <a:pt x="62" y="4"/>
                  </a:cubicBezTo>
                  <a:cubicBezTo>
                    <a:pt x="63" y="3"/>
                    <a:pt x="65" y="1"/>
                    <a:pt x="6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297"/>
            <p:cNvSpPr>
              <a:spLocks/>
            </p:cNvSpPr>
            <p:nvPr/>
          </p:nvSpPr>
          <p:spPr bwMode="auto">
            <a:xfrm>
              <a:off x="1954" y="1599"/>
              <a:ext cx="15" cy="43"/>
            </a:xfrm>
            <a:custGeom>
              <a:avLst/>
              <a:gdLst>
                <a:gd name="T0" fmla="*/ 0 w 55"/>
                <a:gd name="T1" fmla="*/ 0 h 156"/>
                <a:gd name="T2" fmla="*/ 39 w 55"/>
                <a:gd name="T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156">
                  <a:moveTo>
                    <a:pt x="0" y="0"/>
                  </a:moveTo>
                  <a:cubicBezTo>
                    <a:pt x="0" y="0"/>
                    <a:pt x="55" y="46"/>
                    <a:pt x="39" y="1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298"/>
            <p:cNvSpPr>
              <a:spLocks/>
            </p:cNvSpPr>
            <p:nvPr/>
          </p:nvSpPr>
          <p:spPr bwMode="auto">
            <a:xfrm>
              <a:off x="1853" y="1546"/>
              <a:ext cx="106" cy="63"/>
            </a:xfrm>
            <a:custGeom>
              <a:avLst/>
              <a:gdLst>
                <a:gd name="T0" fmla="*/ 302 w 388"/>
                <a:gd name="T1" fmla="*/ 224 h 231"/>
                <a:gd name="T2" fmla="*/ 376 w 388"/>
                <a:gd name="T3" fmla="*/ 185 h 231"/>
                <a:gd name="T4" fmla="*/ 321 w 388"/>
                <a:gd name="T5" fmla="*/ 62 h 231"/>
                <a:gd name="T6" fmla="*/ 103 w 388"/>
                <a:gd name="T7" fmla="*/ 0 h 231"/>
                <a:gd name="T8" fmla="*/ 138 w 388"/>
                <a:gd name="T9" fmla="*/ 64 h 231"/>
                <a:gd name="T10" fmla="*/ 47 w 388"/>
                <a:gd name="T11" fmla="*/ 48 h 231"/>
                <a:gd name="T12" fmla="*/ 0 w 388"/>
                <a:gd name="T13" fmla="*/ 33 h 231"/>
                <a:gd name="T14" fmla="*/ 109 w 388"/>
                <a:gd name="T15" fmla="*/ 216 h 231"/>
                <a:gd name="T16" fmla="*/ 259 w 388"/>
                <a:gd name="T17" fmla="*/ 22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231">
                  <a:moveTo>
                    <a:pt x="302" y="224"/>
                  </a:moveTo>
                  <a:cubicBezTo>
                    <a:pt x="342" y="217"/>
                    <a:pt x="371" y="204"/>
                    <a:pt x="376" y="185"/>
                  </a:cubicBezTo>
                  <a:cubicBezTo>
                    <a:pt x="388" y="138"/>
                    <a:pt x="381" y="85"/>
                    <a:pt x="321" y="62"/>
                  </a:cubicBezTo>
                  <a:cubicBezTo>
                    <a:pt x="261" y="39"/>
                    <a:pt x="121" y="18"/>
                    <a:pt x="103" y="0"/>
                  </a:cubicBezTo>
                  <a:cubicBezTo>
                    <a:pt x="103" y="0"/>
                    <a:pt x="105" y="51"/>
                    <a:pt x="138" y="64"/>
                  </a:cubicBezTo>
                  <a:cubicBezTo>
                    <a:pt x="138" y="64"/>
                    <a:pt x="79" y="45"/>
                    <a:pt x="47" y="48"/>
                  </a:cubicBezTo>
                  <a:cubicBezTo>
                    <a:pt x="30" y="51"/>
                    <a:pt x="13" y="45"/>
                    <a:pt x="0" y="33"/>
                  </a:cubicBezTo>
                  <a:cubicBezTo>
                    <a:pt x="0" y="33"/>
                    <a:pt x="5" y="190"/>
                    <a:pt x="109" y="216"/>
                  </a:cubicBezTo>
                  <a:cubicBezTo>
                    <a:pt x="158" y="227"/>
                    <a:pt x="209" y="231"/>
                    <a:pt x="259" y="2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299"/>
            <p:cNvSpPr>
              <a:spLocks/>
            </p:cNvSpPr>
            <p:nvPr/>
          </p:nvSpPr>
          <p:spPr bwMode="auto">
            <a:xfrm>
              <a:off x="1840" y="1583"/>
              <a:ext cx="18" cy="57"/>
            </a:xfrm>
            <a:custGeom>
              <a:avLst/>
              <a:gdLst>
                <a:gd name="T0" fmla="*/ 64 w 64"/>
                <a:gd name="T1" fmla="*/ 0 h 210"/>
                <a:gd name="T2" fmla="*/ 48 w 64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210">
                  <a:moveTo>
                    <a:pt x="64" y="0"/>
                  </a:moveTo>
                  <a:cubicBezTo>
                    <a:pt x="64" y="0"/>
                    <a:pt x="0" y="105"/>
                    <a:pt x="48" y="2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300"/>
            <p:cNvSpPr>
              <a:spLocks/>
            </p:cNvSpPr>
            <p:nvPr/>
          </p:nvSpPr>
          <p:spPr bwMode="auto">
            <a:xfrm>
              <a:off x="1971" y="1610"/>
              <a:ext cx="4" cy="30"/>
            </a:xfrm>
            <a:custGeom>
              <a:avLst/>
              <a:gdLst>
                <a:gd name="T0" fmla="*/ 15 w 16"/>
                <a:gd name="T1" fmla="*/ 0 h 110"/>
                <a:gd name="T2" fmla="*/ 0 w 16"/>
                <a:gd name="T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6" y="37"/>
                    <a:pt x="11" y="74"/>
                    <a:pt x="0" y="11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301"/>
            <p:cNvSpPr>
              <a:spLocks/>
            </p:cNvSpPr>
            <p:nvPr/>
          </p:nvSpPr>
          <p:spPr bwMode="auto">
            <a:xfrm>
              <a:off x="1957" y="1580"/>
              <a:ext cx="16" cy="21"/>
            </a:xfrm>
            <a:custGeom>
              <a:avLst/>
              <a:gdLst>
                <a:gd name="T0" fmla="*/ 0 w 58"/>
                <a:gd name="T1" fmla="*/ 0 h 74"/>
                <a:gd name="T2" fmla="*/ 58 w 58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8" h="74">
                  <a:moveTo>
                    <a:pt x="0" y="0"/>
                  </a:moveTo>
                  <a:cubicBezTo>
                    <a:pt x="0" y="0"/>
                    <a:pt x="41" y="15"/>
                    <a:pt x="58" y="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304"/>
            <p:cNvSpPr>
              <a:spLocks/>
            </p:cNvSpPr>
            <p:nvPr/>
          </p:nvSpPr>
          <p:spPr bwMode="auto">
            <a:xfrm>
              <a:off x="2096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305"/>
            <p:cNvSpPr>
              <a:spLocks/>
            </p:cNvSpPr>
            <p:nvPr/>
          </p:nvSpPr>
          <p:spPr bwMode="auto">
            <a:xfrm>
              <a:off x="1989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306"/>
            <p:cNvSpPr>
              <a:spLocks/>
            </p:cNvSpPr>
            <p:nvPr/>
          </p:nvSpPr>
          <p:spPr bwMode="auto">
            <a:xfrm>
              <a:off x="1920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307"/>
            <p:cNvSpPr>
              <a:spLocks/>
            </p:cNvSpPr>
            <p:nvPr/>
          </p:nvSpPr>
          <p:spPr bwMode="auto">
            <a:xfrm>
              <a:off x="1882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308"/>
            <p:cNvSpPr>
              <a:spLocks/>
            </p:cNvSpPr>
            <p:nvPr/>
          </p:nvSpPr>
          <p:spPr bwMode="auto">
            <a:xfrm>
              <a:off x="1750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309"/>
            <p:cNvSpPr>
              <a:spLocks/>
            </p:cNvSpPr>
            <p:nvPr/>
          </p:nvSpPr>
          <p:spPr bwMode="auto">
            <a:xfrm>
              <a:off x="1698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310"/>
            <p:cNvSpPr>
              <a:spLocks/>
            </p:cNvSpPr>
            <p:nvPr/>
          </p:nvSpPr>
          <p:spPr bwMode="auto">
            <a:xfrm>
              <a:off x="1701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311"/>
            <p:cNvSpPr>
              <a:spLocks/>
            </p:cNvSpPr>
            <p:nvPr/>
          </p:nvSpPr>
          <p:spPr bwMode="auto">
            <a:xfrm>
              <a:off x="1732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312"/>
            <p:cNvSpPr>
              <a:spLocks/>
            </p:cNvSpPr>
            <p:nvPr/>
          </p:nvSpPr>
          <p:spPr bwMode="auto">
            <a:xfrm>
              <a:off x="1745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313"/>
            <p:cNvSpPr>
              <a:spLocks/>
            </p:cNvSpPr>
            <p:nvPr/>
          </p:nvSpPr>
          <p:spPr bwMode="auto">
            <a:xfrm>
              <a:off x="1840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314"/>
            <p:cNvSpPr>
              <a:spLocks/>
            </p:cNvSpPr>
            <p:nvPr/>
          </p:nvSpPr>
          <p:spPr bwMode="auto">
            <a:xfrm>
              <a:off x="2032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315"/>
            <p:cNvSpPr>
              <a:spLocks/>
            </p:cNvSpPr>
            <p:nvPr/>
          </p:nvSpPr>
          <p:spPr bwMode="auto">
            <a:xfrm>
              <a:off x="2050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316"/>
            <p:cNvSpPr>
              <a:spLocks/>
            </p:cNvSpPr>
            <p:nvPr/>
          </p:nvSpPr>
          <p:spPr bwMode="auto">
            <a:xfrm>
              <a:off x="2074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3" name="TextBox 342"/>
          <p:cNvSpPr txBox="1"/>
          <p:nvPr/>
        </p:nvSpPr>
        <p:spPr>
          <a:xfrm>
            <a:off x="1193896" y="5075929"/>
            <a:ext cx="6447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rator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794612" y="4486029"/>
            <a:ext cx="1475231" cy="1541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BAA70857-ABB5-4C87-BBFB-D579FE7636B0}"/>
              </a:ext>
            </a:extLst>
          </p:cNvPr>
          <p:cNvSpPr/>
          <p:nvPr/>
        </p:nvSpPr>
        <p:spPr bwMode="auto">
          <a:xfrm>
            <a:off x="696827" y="5316977"/>
            <a:ext cx="1660407" cy="19863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et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96006" y="1502817"/>
            <a:ext cx="1656000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composi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8</a:t>
            </a:fld>
            <a:endParaRPr lang="en-US" noProof="0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818450D-F11B-42E0-A2B1-C8F16BE029A6}"/>
              </a:ext>
            </a:extLst>
          </p:cNvPr>
          <p:cNvSpPr/>
          <p:nvPr/>
        </p:nvSpPr>
        <p:spPr bwMode="auto">
          <a:xfrm>
            <a:off x="803175" y="3657401"/>
            <a:ext cx="1476000" cy="14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OP,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4A, eCERTIS</a:t>
            </a:r>
            <a:endParaRPr kumimoji="0" lang="fr-BE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35" name="Group 143"/>
          <p:cNvGrpSpPr>
            <a:grpSpLocks noChangeAspect="1"/>
          </p:cNvGrpSpPr>
          <p:nvPr/>
        </p:nvGrpSpPr>
        <p:grpSpPr bwMode="auto">
          <a:xfrm>
            <a:off x="1320418" y="3860772"/>
            <a:ext cx="420997" cy="427899"/>
            <a:chOff x="5310" y="1441"/>
            <a:chExt cx="427" cy="434"/>
          </a:xfrm>
          <a:noFill/>
        </p:grpSpPr>
        <p:sp>
          <p:nvSpPr>
            <p:cNvPr id="136" name="Oval 161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Oval 162"/>
            <p:cNvSpPr>
              <a:spLocks noChangeArrowheads="1"/>
            </p:cNvSpPr>
            <p:nvPr/>
          </p:nvSpPr>
          <p:spPr bwMode="auto">
            <a:xfrm>
              <a:off x="5336" y="1467"/>
              <a:ext cx="375" cy="374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Line 144"/>
            <p:cNvSpPr>
              <a:spLocks noChangeShapeType="1"/>
            </p:cNvSpPr>
            <p:nvPr/>
          </p:nvSpPr>
          <p:spPr bwMode="auto">
            <a:xfrm flipH="1" flipV="1">
              <a:off x="5543" y="1719"/>
              <a:ext cx="2" cy="3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Line 145"/>
            <p:cNvSpPr>
              <a:spLocks noChangeShapeType="1"/>
            </p:cNvSpPr>
            <p:nvPr/>
          </p:nvSpPr>
          <p:spPr bwMode="auto">
            <a:xfrm flipH="1">
              <a:off x="5502" y="1718"/>
              <a:ext cx="3" cy="3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46"/>
            <p:cNvSpPr>
              <a:spLocks/>
            </p:cNvSpPr>
            <p:nvPr/>
          </p:nvSpPr>
          <p:spPr bwMode="auto">
            <a:xfrm>
              <a:off x="5457" y="1646"/>
              <a:ext cx="20" cy="38"/>
            </a:xfrm>
            <a:custGeom>
              <a:avLst/>
              <a:gdLst>
                <a:gd name="T0" fmla="*/ 71 w 71"/>
                <a:gd name="T1" fmla="*/ 138 h 138"/>
                <a:gd name="T2" fmla="*/ 16 w 71"/>
                <a:gd name="T3" fmla="*/ 65 h 138"/>
                <a:gd name="T4" fmla="*/ 44 w 71"/>
                <a:gd name="T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38">
                  <a:moveTo>
                    <a:pt x="71" y="138"/>
                  </a:moveTo>
                  <a:cubicBezTo>
                    <a:pt x="71" y="138"/>
                    <a:pt x="31" y="130"/>
                    <a:pt x="16" y="65"/>
                  </a:cubicBezTo>
                  <a:cubicBezTo>
                    <a:pt x="0" y="0"/>
                    <a:pt x="44" y="7"/>
                    <a:pt x="44" y="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47"/>
            <p:cNvSpPr>
              <a:spLocks/>
            </p:cNvSpPr>
            <p:nvPr/>
          </p:nvSpPr>
          <p:spPr bwMode="auto">
            <a:xfrm>
              <a:off x="5545" y="1734"/>
              <a:ext cx="84" cy="75"/>
            </a:xfrm>
            <a:custGeom>
              <a:avLst/>
              <a:gdLst>
                <a:gd name="T0" fmla="*/ 0 w 308"/>
                <a:gd name="T1" fmla="*/ 0 h 274"/>
                <a:gd name="T2" fmla="*/ 177 w 308"/>
                <a:gd name="T3" fmla="*/ 76 h 274"/>
                <a:gd name="T4" fmla="*/ 308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0" y="0"/>
                  </a:moveTo>
                  <a:cubicBezTo>
                    <a:pt x="0" y="0"/>
                    <a:pt x="40" y="40"/>
                    <a:pt x="177" y="76"/>
                  </a:cubicBezTo>
                  <a:cubicBezTo>
                    <a:pt x="299" y="108"/>
                    <a:pt x="308" y="207"/>
                    <a:pt x="308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48"/>
            <p:cNvSpPr>
              <a:spLocks/>
            </p:cNvSpPr>
            <p:nvPr/>
          </p:nvSpPr>
          <p:spPr bwMode="auto">
            <a:xfrm>
              <a:off x="5419" y="1734"/>
              <a:ext cx="84" cy="75"/>
            </a:xfrm>
            <a:custGeom>
              <a:avLst/>
              <a:gdLst>
                <a:gd name="T0" fmla="*/ 308 w 308"/>
                <a:gd name="T1" fmla="*/ 0 h 274"/>
                <a:gd name="T2" fmla="*/ 132 w 308"/>
                <a:gd name="T3" fmla="*/ 76 h 274"/>
                <a:gd name="T4" fmla="*/ 0 w 308"/>
                <a:gd name="T5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8" h="274">
                  <a:moveTo>
                    <a:pt x="308" y="0"/>
                  </a:moveTo>
                  <a:cubicBezTo>
                    <a:pt x="308" y="0"/>
                    <a:pt x="269" y="40"/>
                    <a:pt x="132" y="76"/>
                  </a:cubicBezTo>
                  <a:cubicBezTo>
                    <a:pt x="9" y="107"/>
                    <a:pt x="0" y="207"/>
                    <a:pt x="0" y="2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49"/>
            <p:cNvSpPr>
              <a:spLocks/>
            </p:cNvSpPr>
            <p:nvPr/>
          </p:nvSpPr>
          <p:spPr bwMode="auto">
            <a:xfrm>
              <a:off x="5451" y="1756"/>
              <a:ext cx="8" cy="63"/>
            </a:xfrm>
            <a:custGeom>
              <a:avLst/>
              <a:gdLst>
                <a:gd name="T0" fmla="*/ 0 w 27"/>
                <a:gd name="T1" fmla="*/ 0 h 230"/>
                <a:gd name="T2" fmla="*/ 27 w 27"/>
                <a:gd name="T3" fmla="*/ 123 h 230"/>
                <a:gd name="T4" fmla="*/ 27 w 27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30">
                  <a:moveTo>
                    <a:pt x="0" y="0"/>
                  </a:moveTo>
                  <a:cubicBezTo>
                    <a:pt x="17" y="39"/>
                    <a:pt x="26" y="81"/>
                    <a:pt x="27" y="123"/>
                  </a:cubicBezTo>
                  <a:lnTo>
                    <a:pt x="27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50"/>
            <p:cNvSpPr>
              <a:spLocks/>
            </p:cNvSpPr>
            <p:nvPr/>
          </p:nvSpPr>
          <p:spPr bwMode="auto">
            <a:xfrm>
              <a:off x="5586" y="1756"/>
              <a:ext cx="7" cy="63"/>
            </a:xfrm>
            <a:custGeom>
              <a:avLst/>
              <a:gdLst>
                <a:gd name="T0" fmla="*/ 28 w 28"/>
                <a:gd name="T1" fmla="*/ 0 h 230"/>
                <a:gd name="T2" fmla="*/ 0 w 28"/>
                <a:gd name="T3" fmla="*/ 123 h 230"/>
                <a:gd name="T4" fmla="*/ 0 w 28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30">
                  <a:moveTo>
                    <a:pt x="28" y="0"/>
                  </a:moveTo>
                  <a:cubicBezTo>
                    <a:pt x="11" y="39"/>
                    <a:pt x="1" y="81"/>
                    <a:pt x="0" y="123"/>
                  </a:cubicBezTo>
                  <a:lnTo>
                    <a:pt x="0" y="23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51"/>
            <p:cNvSpPr>
              <a:spLocks/>
            </p:cNvSpPr>
            <p:nvPr/>
          </p:nvSpPr>
          <p:spPr bwMode="auto">
            <a:xfrm>
              <a:off x="5479" y="1747"/>
              <a:ext cx="93" cy="57"/>
            </a:xfrm>
            <a:custGeom>
              <a:avLst/>
              <a:gdLst>
                <a:gd name="T0" fmla="*/ 0 w 340"/>
                <a:gd name="T1" fmla="*/ 0 h 209"/>
                <a:gd name="T2" fmla="*/ 29 w 340"/>
                <a:gd name="T3" fmla="*/ 111 h 209"/>
                <a:gd name="T4" fmla="*/ 159 w 340"/>
                <a:gd name="T5" fmla="*/ 209 h 209"/>
                <a:gd name="T6" fmla="*/ 304 w 340"/>
                <a:gd name="T7" fmla="*/ 124 h 209"/>
                <a:gd name="T8" fmla="*/ 340 w 340"/>
                <a:gd name="T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209">
                  <a:moveTo>
                    <a:pt x="0" y="0"/>
                  </a:moveTo>
                  <a:cubicBezTo>
                    <a:pt x="15" y="35"/>
                    <a:pt x="25" y="73"/>
                    <a:pt x="29" y="111"/>
                  </a:cubicBezTo>
                  <a:cubicBezTo>
                    <a:pt x="34" y="166"/>
                    <a:pt x="65" y="209"/>
                    <a:pt x="159" y="209"/>
                  </a:cubicBezTo>
                  <a:cubicBezTo>
                    <a:pt x="234" y="209"/>
                    <a:pt x="281" y="207"/>
                    <a:pt x="304" y="124"/>
                  </a:cubicBezTo>
                  <a:cubicBezTo>
                    <a:pt x="325" y="50"/>
                    <a:pt x="340" y="5"/>
                    <a:pt x="34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52"/>
            <p:cNvSpPr>
              <a:spLocks/>
            </p:cNvSpPr>
            <p:nvPr/>
          </p:nvSpPr>
          <p:spPr bwMode="auto">
            <a:xfrm>
              <a:off x="5467" y="1575"/>
              <a:ext cx="119" cy="178"/>
            </a:xfrm>
            <a:custGeom>
              <a:avLst/>
              <a:gdLst>
                <a:gd name="T0" fmla="*/ 434 w 434"/>
                <a:gd name="T1" fmla="*/ 651 h 651"/>
                <a:gd name="T2" fmla="*/ 383 w 434"/>
                <a:gd name="T3" fmla="*/ 308 h 651"/>
                <a:gd name="T4" fmla="*/ 180 w 434"/>
                <a:gd name="T5" fmla="*/ 71 h 651"/>
                <a:gd name="T6" fmla="*/ 88 w 434"/>
                <a:gd name="T7" fmla="*/ 0 h 651"/>
                <a:gd name="T8" fmla="*/ 67 w 434"/>
                <a:gd name="T9" fmla="*/ 111 h 651"/>
                <a:gd name="T10" fmla="*/ 12 w 434"/>
                <a:gd name="T11" fmla="*/ 269 h 651"/>
                <a:gd name="T12" fmla="*/ 58 w 434"/>
                <a:gd name="T13" fmla="*/ 447 h 651"/>
                <a:gd name="T14" fmla="*/ 101 w 434"/>
                <a:gd name="T15" fmla="*/ 497 h 651"/>
                <a:gd name="T16" fmla="*/ 318 w 434"/>
                <a:gd name="T17" fmla="*/ 497 h 651"/>
                <a:gd name="T18" fmla="*/ 353 w 434"/>
                <a:gd name="T19" fmla="*/ 454 h 651"/>
                <a:gd name="T20" fmla="*/ 382 w 434"/>
                <a:gd name="T21" fmla="*/ 383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4" h="651">
                  <a:moveTo>
                    <a:pt x="434" y="651"/>
                  </a:moveTo>
                  <a:cubicBezTo>
                    <a:pt x="434" y="651"/>
                    <a:pt x="374" y="532"/>
                    <a:pt x="383" y="308"/>
                  </a:cubicBezTo>
                  <a:cubicBezTo>
                    <a:pt x="390" y="149"/>
                    <a:pt x="241" y="100"/>
                    <a:pt x="180" y="71"/>
                  </a:cubicBezTo>
                  <a:cubicBezTo>
                    <a:pt x="145" y="54"/>
                    <a:pt x="113" y="30"/>
                    <a:pt x="88" y="0"/>
                  </a:cubicBezTo>
                  <a:cubicBezTo>
                    <a:pt x="102" y="38"/>
                    <a:pt x="94" y="80"/>
                    <a:pt x="67" y="111"/>
                  </a:cubicBezTo>
                  <a:cubicBezTo>
                    <a:pt x="21" y="162"/>
                    <a:pt x="0" y="201"/>
                    <a:pt x="12" y="269"/>
                  </a:cubicBezTo>
                  <a:cubicBezTo>
                    <a:pt x="15" y="333"/>
                    <a:pt x="31" y="401"/>
                    <a:pt x="58" y="447"/>
                  </a:cubicBezTo>
                  <a:cubicBezTo>
                    <a:pt x="70" y="466"/>
                    <a:pt x="84" y="483"/>
                    <a:pt x="101" y="497"/>
                  </a:cubicBezTo>
                  <a:cubicBezTo>
                    <a:pt x="162" y="554"/>
                    <a:pt x="257" y="554"/>
                    <a:pt x="318" y="497"/>
                  </a:cubicBezTo>
                  <a:cubicBezTo>
                    <a:pt x="332" y="485"/>
                    <a:pt x="344" y="470"/>
                    <a:pt x="353" y="454"/>
                  </a:cubicBezTo>
                  <a:cubicBezTo>
                    <a:pt x="365" y="431"/>
                    <a:pt x="374" y="407"/>
                    <a:pt x="382" y="3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53"/>
            <p:cNvSpPr>
              <a:spLocks/>
            </p:cNvSpPr>
            <p:nvPr/>
          </p:nvSpPr>
          <p:spPr bwMode="auto">
            <a:xfrm>
              <a:off x="5584" y="1662"/>
              <a:ext cx="28" cy="102"/>
            </a:xfrm>
            <a:custGeom>
              <a:avLst/>
              <a:gdLst>
                <a:gd name="T0" fmla="*/ 22 w 106"/>
                <a:gd name="T1" fmla="*/ 0 h 374"/>
                <a:gd name="T2" fmla="*/ 106 w 106"/>
                <a:gd name="T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374">
                  <a:moveTo>
                    <a:pt x="22" y="0"/>
                  </a:moveTo>
                  <a:cubicBezTo>
                    <a:pt x="0" y="171"/>
                    <a:pt x="106" y="374"/>
                    <a:pt x="106" y="37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54"/>
            <p:cNvSpPr>
              <a:spLocks/>
            </p:cNvSpPr>
            <p:nvPr/>
          </p:nvSpPr>
          <p:spPr bwMode="auto">
            <a:xfrm>
              <a:off x="5491" y="1556"/>
              <a:ext cx="102" cy="90"/>
            </a:xfrm>
            <a:custGeom>
              <a:avLst/>
              <a:gdLst>
                <a:gd name="T0" fmla="*/ 0 w 373"/>
                <a:gd name="T1" fmla="*/ 61 h 328"/>
                <a:gd name="T2" fmla="*/ 158 w 373"/>
                <a:gd name="T3" fmla="*/ 3 h 328"/>
                <a:gd name="T4" fmla="*/ 365 w 373"/>
                <a:gd name="T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" h="328">
                  <a:moveTo>
                    <a:pt x="0" y="61"/>
                  </a:moveTo>
                  <a:cubicBezTo>
                    <a:pt x="0" y="61"/>
                    <a:pt x="37" y="0"/>
                    <a:pt x="158" y="3"/>
                  </a:cubicBezTo>
                  <a:cubicBezTo>
                    <a:pt x="270" y="7"/>
                    <a:pt x="373" y="121"/>
                    <a:pt x="365" y="328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55"/>
            <p:cNvSpPr>
              <a:spLocks/>
            </p:cNvSpPr>
            <p:nvPr/>
          </p:nvSpPr>
          <p:spPr bwMode="auto">
            <a:xfrm>
              <a:off x="5454" y="1573"/>
              <a:ext cx="37" cy="73"/>
            </a:xfrm>
            <a:custGeom>
              <a:avLst/>
              <a:gdLst>
                <a:gd name="T0" fmla="*/ 138 w 138"/>
                <a:gd name="T1" fmla="*/ 8 h 269"/>
                <a:gd name="T2" fmla="*/ 88 w 138"/>
                <a:gd name="T3" fmla="*/ 8 h 269"/>
                <a:gd name="T4" fmla="*/ 39 w 138"/>
                <a:gd name="T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269">
                  <a:moveTo>
                    <a:pt x="138" y="8"/>
                  </a:moveTo>
                  <a:cubicBezTo>
                    <a:pt x="122" y="0"/>
                    <a:pt x="103" y="0"/>
                    <a:pt x="88" y="8"/>
                  </a:cubicBezTo>
                  <a:cubicBezTo>
                    <a:pt x="60" y="22"/>
                    <a:pt x="0" y="87"/>
                    <a:pt x="39" y="26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56"/>
            <p:cNvSpPr>
              <a:spLocks/>
            </p:cNvSpPr>
            <p:nvPr/>
          </p:nvSpPr>
          <p:spPr bwMode="auto">
            <a:xfrm>
              <a:off x="5466" y="1684"/>
              <a:ext cx="11" cy="67"/>
            </a:xfrm>
            <a:custGeom>
              <a:avLst/>
              <a:gdLst>
                <a:gd name="T0" fmla="*/ 0 w 41"/>
                <a:gd name="T1" fmla="*/ 248 h 248"/>
                <a:gd name="T2" fmla="*/ 31 w 41"/>
                <a:gd name="T3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8">
                  <a:moveTo>
                    <a:pt x="0" y="248"/>
                  </a:moveTo>
                  <a:cubicBezTo>
                    <a:pt x="41" y="154"/>
                    <a:pt x="31" y="0"/>
                    <a:pt x="3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57"/>
            <p:cNvSpPr>
              <a:spLocks/>
            </p:cNvSpPr>
            <p:nvPr/>
          </p:nvSpPr>
          <p:spPr bwMode="auto">
            <a:xfrm>
              <a:off x="5543" y="1622"/>
              <a:ext cx="27" cy="20"/>
            </a:xfrm>
            <a:custGeom>
              <a:avLst/>
              <a:gdLst>
                <a:gd name="T0" fmla="*/ 0 w 100"/>
                <a:gd name="T1" fmla="*/ 0 h 71"/>
                <a:gd name="T2" fmla="*/ 100 w 100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71">
                  <a:moveTo>
                    <a:pt x="0" y="0"/>
                  </a:moveTo>
                  <a:cubicBezTo>
                    <a:pt x="39" y="15"/>
                    <a:pt x="73" y="39"/>
                    <a:pt x="100" y="7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58"/>
            <p:cNvSpPr>
              <a:spLocks/>
            </p:cNvSpPr>
            <p:nvPr/>
          </p:nvSpPr>
          <p:spPr bwMode="auto">
            <a:xfrm>
              <a:off x="5495" y="1579"/>
              <a:ext cx="37" cy="40"/>
            </a:xfrm>
            <a:custGeom>
              <a:avLst/>
              <a:gdLst>
                <a:gd name="T0" fmla="*/ 0 w 136"/>
                <a:gd name="T1" fmla="*/ 0 h 146"/>
                <a:gd name="T2" fmla="*/ 112 w 136"/>
                <a:gd name="T3" fmla="*/ 141 h 146"/>
                <a:gd name="T4" fmla="*/ 136 w 136"/>
                <a:gd name="T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6" h="146">
                  <a:moveTo>
                    <a:pt x="0" y="0"/>
                  </a:moveTo>
                  <a:cubicBezTo>
                    <a:pt x="0" y="0"/>
                    <a:pt x="5" y="120"/>
                    <a:pt x="112" y="141"/>
                  </a:cubicBezTo>
                  <a:cubicBezTo>
                    <a:pt x="121" y="143"/>
                    <a:pt x="128" y="144"/>
                    <a:pt x="136" y="14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59"/>
            <p:cNvSpPr>
              <a:spLocks/>
            </p:cNvSpPr>
            <p:nvPr/>
          </p:nvSpPr>
          <p:spPr bwMode="auto">
            <a:xfrm>
              <a:off x="5429" y="1673"/>
              <a:ext cx="36" cy="98"/>
            </a:xfrm>
            <a:custGeom>
              <a:avLst/>
              <a:gdLst>
                <a:gd name="T0" fmla="*/ 133 w 133"/>
                <a:gd name="T1" fmla="*/ 0 h 359"/>
                <a:gd name="T2" fmla="*/ 97 w 133"/>
                <a:gd name="T3" fmla="*/ 199 h 359"/>
                <a:gd name="T4" fmla="*/ 0 w 133"/>
                <a:gd name="T5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3" h="359">
                  <a:moveTo>
                    <a:pt x="133" y="0"/>
                  </a:moveTo>
                  <a:cubicBezTo>
                    <a:pt x="133" y="0"/>
                    <a:pt x="123" y="150"/>
                    <a:pt x="97" y="199"/>
                  </a:cubicBezTo>
                  <a:cubicBezTo>
                    <a:pt x="70" y="247"/>
                    <a:pt x="3" y="301"/>
                    <a:pt x="0" y="35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60"/>
            <p:cNvSpPr>
              <a:spLocks/>
            </p:cNvSpPr>
            <p:nvPr/>
          </p:nvSpPr>
          <p:spPr bwMode="auto">
            <a:xfrm>
              <a:off x="5501" y="1811"/>
              <a:ext cx="46" cy="9"/>
            </a:xfrm>
            <a:custGeom>
              <a:avLst/>
              <a:gdLst>
                <a:gd name="T0" fmla="*/ 0 w 168"/>
                <a:gd name="T1" fmla="*/ 0 h 33"/>
                <a:gd name="T2" fmla="*/ 168 w 168"/>
                <a:gd name="T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33">
                  <a:moveTo>
                    <a:pt x="0" y="0"/>
                  </a:moveTo>
                  <a:cubicBezTo>
                    <a:pt x="0" y="0"/>
                    <a:pt x="62" y="33"/>
                    <a:pt x="168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5708" y="1547"/>
              <a:ext cx="29" cy="92"/>
            </a:xfrm>
            <a:custGeom>
              <a:avLst/>
              <a:gdLst>
                <a:gd name="T0" fmla="*/ 0 w 104"/>
                <a:gd name="T1" fmla="*/ 0 h 336"/>
                <a:gd name="T2" fmla="*/ 53 w 104"/>
                <a:gd name="T3" fmla="*/ 109 h 336"/>
                <a:gd name="T4" fmla="*/ 72 w 104"/>
                <a:gd name="T5" fmla="*/ 165 h 336"/>
                <a:gd name="T6" fmla="*/ 104 w 104"/>
                <a:gd name="T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336">
                  <a:moveTo>
                    <a:pt x="0" y="0"/>
                  </a:moveTo>
                  <a:cubicBezTo>
                    <a:pt x="21" y="35"/>
                    <a:pt x="38" y="71"/>
                    <a:pt x="53" y="109"/>
                  </a:cubicBezTo>
                  <a:cubicBezTo>
                    <a:pt x="60" y="127"/>
                    <a:pt x="66" y="146"/>
                    <a:pt x="72" y="165"/>
                  </a:cubicBezTo>
                  <a:cubicBezTo>
                    <a:pt x="89" y="221"/>
                    <a:pt x="99" y="278"/>
                    <a:pt x="104" y="3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5601" y="1456"/>
              <a:ext cx="95" cy="72"/>
            </a:xfrm>
            <a:custGeom>
              <a:avLst/>
              <a:gdLst>
                <a:gd name="T0" fmla="*/ 0 w 347"/>
                <a:gd name="T1" fmla="*/ 0 h 267"/>
                <a:gd name="T2" fmla="*/ 347 w 347"/>
                <a:gd name="T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47" h="267">
                  <a:moveTo>
                    <a:pt x="0" y="0"/>
                  </a:moveTo>
                  <a:cubicBezTo>
                    <a:pt x="139" y="54"/>
                    <a:pt x="259" y="147"/>
                    <a:pt x="347" y="26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5"/>
            <p:cNvSpPr>
              <a:spLocks/>
            </p:cNvSpPr>
            <p:nvPr/>
          </p:nvSpPr>
          <p:spPr bwMode="auto">
            <a:xfrm>
              <a:off x="5532" y="1441"/>
              <a:ext cx="53" cy="9"/>
            </a:xfrm>
            <a:custGeom>
              <a:avLst/>
              <a:gdLst>
                <a:gd name="T0" fmla="*/ 0 w 193"/>
                <a:gd name="T1" fmla="*/ 0 h 32"/>
                <a:gd name="T2" fmla="*/ 32 w 193"/>
                <a:gd name="T3" fmla="*/ 1 h 32"/>
                <a:gd name="T4" fmla="*/ 107 w 193"/>
                <a:gd name="T5" fmla="*/ 11 h 32"/>
                <a:gd name="T6" fmla="*/ 193 w 193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2">
                  <a:moveTo>
                    <a:pt x="0" y="0"/>
                  </a:moveTo>
                  <a:cubicBezTo>
                    <a:pt x="10" y="0"/>
                    <a:pt x="21" y="1"/>
                    <a:pt x="32" y="1"/>
                  </a:cubicBezTo>
                  <a:cubicBezTo>
                    <a:pt x="57" y="3"/>
                    <a:pt x="82" y="7"/>
                    <a:pt x="107" y="11"/>
                  </a:cubicBezTo>
                  <a:cubicBezTo>
                    <a:pt x="136" y="16"/>
                    <a:pt x="164" y="23"/>
                    <a:pt x="193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5494" y="1441"/>
              <a:ext cx="23" cy="3"/>
            </a:xfrm>
            <a:custGeom>
              <a:avLst/>
              <a:gdLst>
                <a:gd name="T0" fmla="*/ 0 w 85"/>
                <a:gd name="T1" fmla="*/ 9 h 9"/>
                <a:gd name="T2" fmla="*/ 32 w 85"/>
                <a:gd name="T3" fmla="*/ 5 h 9"/>
                <a:gd name="T4" fmla="*/ 85 w 8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9">
                  <a:moveTo>
                    <a:pt x="0" y="9"/>
                  </a:moveTo>
                  <a:cubicBezTo>
                    <a:pt x="10" y="7"/>
                    <a:pt x="21" y="6"/>
                    <a:pt x="32" y="5"/>
                  </a:cubicBezTo>
                  <a:cubicBezTo>
                    <a:pt x="49" y="2"/>
                    <a:pt x="67" y="1"/>
                    <a:pt x="85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5362" y="1445"/>
              <a:ext cx="119" cy="71"/>
            </a:xfrm>
            <a:custGeom>
              <a:avLst/>
              <a:gdLst>
                <a:gd name="T0" fmla="*/ 0 w 439"/>
                <a:gd name="T1" fmla="*/ 260 h 260"/>
                <a:gd name="T2" fmla="*/ 20 w 439"/>
                <a:gd name="T3" fmla="*/ 238 h 260"/>
                <a:gd name="T4" fmla="*/ 314 w 439"/>
                <a:gd name="T5" fmla="*/ 37 h 260"/>
                <a:gd name="T6" fmla="*/ 439 w 439"/>
                <a:gd name="T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260">
                  <a:moveTo>
                    <a:pt x="0" y="260"/>
                  </a:moveTo>
                  <a:cubicBezTo>
                    <a:pt x="7" y="252"/>
                    <a:pt x="13" y="245"/>
                    <a:pt x="20" y="238"/>
                  </a:cubicBezTo>
                  <a:cubicBezTo>
                    <a:pt x="101" y="149"/>
                    <a:pt x="202" y="80"/>
                    <a:pt x="314" y="37"/>
                  </a:cubicBezTo>
                  <a:cubicBezTo>
                    <a:pt x="355" y="21"/>
                    <a:pt x="396" y="9"/>
                    <a:pt x="439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5310" y="1559"/>
              <a:ext cx="23" cy="109"/>
            </a:xfrm>
            <a:custGeom>
              <a:avLst/>
              <a:gdLst>
                <a:gd name="T0" fmla="*/ 6 w 86"/>
                <a:gd name="T1" fmla="*/ 398 h 398"/>
                <a:gd name="T2" fmla="*/ 5 w 86"/>
                <a:gd name="T3" fmla="*/ 378 h 398"/>
                <a:gd name="T4" fmla="*/ 86 w 86"/>
                <a:gd name="T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98">
                  <a:moveTo>
                    <a:pt x="6" y="398"/>
                  </a:moveTo>
                  <a:cubicBezTo>
                    <a:pt x="6" y="391"/>
                    <a:pt x="5" y="384"/>
                    <a:pt x="5" y="378"/>
                  </a:cubicBezTo>
                  <a:cubicBezTo>
                    <a:pt x="0" y="247"/>
                    <a:pt x="27" y="117"/>
                    <a:pt x="86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5313" y="1682"/>
              <a:ext cx="20" cy="66"/>
            </a:xfrm>
            <a:custGeom>
              <a:avLst/>
              <a:gdLst>
                <a:gd name="T0" fmla="*/ 75 w 75"/>
                <a:gd name="T1" fmla="*/ 243 h 243"/>
                <a:gd name="T2" fmla="*/ 46 w 75"/>
                <a:gd name="T3" fmla="*/ 178 h 243"/>
                <a:gd name="T4" fmla="*/ 0 w 75"/>
                <a:gd name="T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43">
                  <a:moveTo>
                    <a:pt x="75" y="243"/>
                  </a:moveTo>
                  <a:cubicBezTo>
                    <a:pt x="65" y="222"/>
                    <a:pt x="55" y="200"/>
                    <a:pt x="46" y="178"/>
                  </a:cubicBezTo>
                  <a:cubicBezTo>
                    <a:pt x="24" y="121"/>
                    <a:pt x="9" y="61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5344" y="1768"/>
              <a:ext cx="9" cy="13"/>
            </a:xfrm>
            <a:custGeom>
              <a:avLst/>
              <a:gdLst>
                <a:gd name="T0" fmla="*/ 32 w 32"/>
                <a:gd name="T1" fmla="*/ 46 h 46"/>
                <a:gd name="T2" fmla="*/ 0 w 32"/>
                <a:gd name="T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46">
                  <a:moveTo>
                    <a:pt x="32" y="46"/>
                  </a:moveTo>
                  <a:cubicBezTo>
                    <a:pt x="21" y="31"/>
                    <a:pt x="10" y="16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71"/>
            <p:cNvSpPr>
              <a:spLocks/>
            </p:cNvSpPr>
            <p:nvPr/>
          </p:nvSpPr>
          <p:spPr bwMode="auto">
            <a:xfrm>
              <a:off x="5357" y="1786"/>
              <a:ext cx="78" cy="61"/>
            </a:xfrm>
            <a:custGeom>
              <a:avLst/>
              <a:gdLst>
                <a:gd name="T0" fmla="*/ 286 w 286"/>
                <a:gd name="T1" fmla="*/ 225 h 225"/>
                <a:gd name="T2" fmla="*/ 41 w 286"/>
                <a:gd name="T3" fmla="*/ 47 h 225"/>
                <a:gd name="T4" fmla="*/ 19 w 286"/>
                <a:gd name="T5" fmla="*/ 22 h 225"/>
                <a:gd name="T6" fmla="*/ 0 w 286"/>
                <a:gd name="T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" h="225">
                  <a:moveTo>
                    <a:pt x="286" y="225"/>
                  </a:moveTo>
                  <a:cubicBezTo>
                    <a:pt x="193" y="182"/>
                    <a:pt x="110" y="122"/>
                    <a:pt x="41" y="47"/>
                  </a:cubicBezTo>
                  <a:cubicBezTo>
                    <a:pt x="33" y="39"/>
                    <a:pt x="26" y="31"/>
                    <a:pt x="19" y="22"/>
                  </a:cubicBezTo>
                  <a:cubicBezTo>
                    <a:pt x="11" y="14"/>
                    <a:pt x="6" y="8"/>
                    <a:pt x="0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72"/>
            <p:cNvSpPr>
              <a:spLocks/>
            </p:cNvSpPr>
            <p:nvPr/>
          </p:nvSpPr>
          <p:spPr bwMode="auto">
            <a:xfrm>
              <a:off x="5452" y="1837"/>
              <a:ext cx="181" cy="38"/>
            </a:xfrm>
            <a:custGeom>
              <a:avLst/>
              <a:gdLst>
                <a:gd name="T0" fmla="*/ 662 w 662"/>
                <a:gd name="T1" fmla="*/ 0 h 141"/>
                <a:gd name="T2" fmla="*/ 651 w 662"/>
                <a:gd name="T3" fmla="*/ 6 h 141"/>
                <a:gd name="T4" fmla="*/ 0 w 662"/>
                <a:gd name="T5" fmla="*/ 6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2" h="141">
                  <a:moveTo>
                    <a:pt x="662" y="0"/>
                  </a:moveTo>
                  <a:cubicBezTo>
                    <a:pt x="658" y="2"/>
                    <a:pt x="655" y="4"/>
                    <a:pt x="651" y="6"/>
                  </a:cubicBezTo>
                  <a:cubicBezTo>
                    <a:pt x="453" y="119"/>
                    <a:pt x="215" y="141"/>
                    <a:pt x="0" y="6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73"/>
            <p:cNvSpPr>
              <a:spLocks/>
            </p:cNvSpPr>
            <p:nvPr/>
          </p:nvSpPr>
          <p:spPr bwMode="auto">
            <a:xfrm>
              <a:off x="5644" y="1825"/>
              <a:ext cx="7" cy="5"/>
            </a:xfrm>
            <a:custGeom>
              <a:avLst/>
              <a:gdLst>
                <a:gd name="T0" fmla="*/ 26 w 26"/>
                <a:gd name="T1" fmla="*/ 0 h 19"/>
                <a:gd name="T2" fmla="*/ 0 w 26"/>
                <a:gd name="T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cubicBezTo>
                    <a:pt x="18" y="7"/>
                    <a:pt x="9" y="13"/>
                    <a:pt x="0" y="1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74"/>
            <p:cNvSpPr>
              <a:spLocks/>
            </p:cNvSpPr>
            <p:nvPr/>
          </p:nvSpPr>
          <p:spPr bwMode="auto">
            <a:xfrm>
              <a:off x="5662" y="1801"/>
              <a:ext cx="16" cy="15"/>
            </a:xfrm>
            <a:custGeom>
              <a:avLst/>
              <a:gdLst>
                <a:gd name="T0" fmla="*/ 58 w 58"/>
                <a:gd name="T1" fmla="*/ 0 h 56"/>
                <a:gd name="T2" fmla="*/ 49 w 58"/>
                <a:gd name="T3" fmla="*/ 9 h 56"/>
                <a:gd name="T4" fmla="*/ 40 w 58"/>
                <a:gd name="T5" fmla="*/ 18 h 56"/>
                <a:gd name="T6" fmla="*/ 0 w 58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6">
                  <a:moveTo>
                    <a:pt x="58" y="0"/>
                  </a:moveTo>
                  <a:lnTo>
                    <a:pt x="49" y="9"/>
                  </a:lnTo>
                  <a:lnTo>
                    <a:pt x="40" y="18"/>
                  </a:lnTo>
                  <a:cubicBezTo>
                    <a:pt x="28" y="31"/>
                    <a:pt x="14" y="43"/>
                    <a:pt x="0" y="5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75"/>
            <p:cNvSpPr>
              <a:spLocks/>
            </p:cNvSpPr>
            <p:nvPr/>
          </p:nvSpPr>
          <p:spPr bwMode="auto">
            <a:xfrm>
              <a:off x="5686" y="1694"/>
              <a:ext cx="47" cy="98"/>
            </a:xfrm>
            <a:custGeom>
              <a:avLst/>
              <a:gdLst>
                <a:gd name="T0" fmla="*/ 172 w 172"/>
                <a:gd name="T1" fmla="*/ 0 h 360"/>
                <a:gd name="T2" fmla="*/ 0 w 172"/>
                <a:gd name="T3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2" h="360">
                  <a:moveTo>
                    <a:pt x="172" y="0"/>
                  </a:moveTo>
                  <a:cubicBezTo>
                    <a:pt x="147" y="133"/>
                    <a:pt x="87" y="257"/>
                    <a:pt x="0" y="3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8" name="TextBox 167"/>
          <p:cNvSpPr txBox="1"/>
          <p:nvPr/>
        </p:nvSpPr>
        <p:spPr>
          <a:xfrm>
            <a:off x="1201143" y="4259455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or</a:t>
            </a:r>
          </a:p>
        </p:txBody>
      </p:sp>
      <p:sp>
        <p:nvSpPr>
          <p:cNvPr id="16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9334" y="1506926"/>
            <a:ext cx="8654466" cy="294129"/>
          </a:xfrm>
        </p:spPr>
        <p:txBody>
          <a:bodyPr vert="horz" lIns="0" tIns="0" rIns="0" bIns="0" rtlCol="0">
            <a:norm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sz="11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ed outputs and timeline</a:t>
            </a:r>
          </a:p>
        </p:txBody>
      </p:sp>
      <p:graphicFrame>
        <p:nvGraphicFramePr>
          <p:cNvPr id="17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86045"/>
              </p:ext>
            </p:extLst>
          </p:nvPr>
        </p:nvGraphicFramePr>
        <p:xfrm>
          <a:off x="2579940" y="1888060"/>
          <a:ext cx="8654726" cy="310656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36023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ase 2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27079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nth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ch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pril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ne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ly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gust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pt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90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cto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v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cember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9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y</a:t>
                      </a:r>
                      <a:endParaRPr kumimoji="0" lang="en-US" altLang="ja-JP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put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842708"/>
                  </a:ext>
                </a:extLst>
              </a:tr>
              <a:tr h="2731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loitte study on semantic mapping</a:t>
                      </a: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1674471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WP initiation spac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4333757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Topic Discussion Document/WP plan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7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3C8C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finition of common data formats for first round of evidences </a:t>
                      </a:r>
                      <a:endParaRPr kumimoji="0" lang="en-US" sz="70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5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700" u="none" strike="noStrike" cap="none" normalizeH="0" baseline="0" dirty="0">
                          <a:ln>
                            <a:noFill/>
                          </a:ln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finition of common data formats for second round of evidences 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17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7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7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greement on action points before starting the next phase and outputs to be handled into the next phase</a:t>
                      </a:r>
                    </a:p>
                  </a:txBody>
                  <a:tcPr marL="0" marR="0" marT="0" marB="0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41809"/>
                  </a:ext>
                </a:extLst>
              </a:tr>
              <a:tr h="260543">
                <a:tc gridSpan="3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etings: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5234845"/>
                  </a:ext>
                </a:extLst>
              </a:tr>
            </a:tbl>
          </a:graphicData>
        </a:graphic>
      </p:graphicFrame>
      <p:sp>
        <p:nvSpPr>
          <p:cNvPr id="172" name="Rectangle 171"/>
          <p:cNvSpPr/>
          <p:nvPr/>
        </p:nvSpPr>
        <p:spPr>
          <a:xfrm>
            <a:off x="5929465" y="4779818"/>
            <a:ext cx="389028" cy="1678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1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4296293" y="2881878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/0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5697105" y="3141937"/>
            <a:ext cx="464721" cy="135726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/0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9" name="Rectangle 11"/>
          <p:cNvSpPr>
            <a:spLocks noChangeArrowheads="1"/>
          </p:cNvSpPr>
          <p:nvPr/>
        </p:nvSpPr>
        <p:spPr bwMode="auto">
          <a:xfrm>
            <a:off x="6289738" y="3738027"/>
            <a:ext cx="2448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9124330" y="1716330"/>
            <a:ext cx="2513924" cy="364421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9255950" y="4452398"/>
            <a:ext cx="464721" cy="135726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/10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5898237" y="3402711"/>
            <a:ext cx="464721" cy="135726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/05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0" name="Rectangle 11"/>
          <p:cNvSpPr>
            <a:spLocks noChangeArrowheads="1"/>
          </p:cNvSpPr>
          <p:nvPr/>
        </p:nvSpPr>
        <p:spPr bwMode="auto">
          <a:xfrm>
            <a:off x="8409899" y="4083760"/>
            <a:ext cx="2160000" cy="72000"/>
          </a:xfrm>
          <a:prstGeom prst="rect">
            <a:avLst/>
          </a:prstGeom>
          <a:pattFill prst="dkUpDiag">
            <a:fgClr>
              <a:schemeClr val="tx1"/>
            </a:fgClr>
            <a:bgClr>
              <a:schemeClr val="bg1"/>
            </a:bgClr>
          </a:patt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72000" tIns="72000" rIns="72000" bIns="72000" anchor="ctr"/>
          <a:lstStyle/>
          <a:p>
            <a:pPr marL="0" marR="0" lvl="0" indent="0" algn="l" defTabSz="18288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10470282" y="4035529"/>
            <a:ext cx="432000" cy="144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/1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8492106" y="3706164"/>
            <a:ext cx="464721" cy="135726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/09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8707412" y="4777339"/>
            <a:ext cx="389028" cy="1678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2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9421843" y="4774241"/>
            <a:ext cx="389028" cy="1678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3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10513254" y="4772549"/>
            <a:ext cx="389028" cy="1678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4</a:t>
            </a:r>
            <a:endParaRPr kumimoji="0" lang="en-GB" sz="5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8069657" y="1438555"/>
            <a:ext cx="2124000" cy="3744000"/>
            <a:chOff x="10337678" y="2279669"/>
            <a:chExt cx="2042220" cy="12559142"/>
          </a:xfrm>
        </p:grpSpPr>
        <p:sp>
          <p:nvSpPr>
            <p:cNvPr id="232" name="TextBox 231"/>
            <p:cNvSpPr txBox="1"/>
            <p:nvPr/>
          </p:nvSpPr>
          <p:spPr>
            <a:xfrm>
              <a:off x="10337678" y="2279669"/>
              <a:ext cx="2042220" cy="703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u="sng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273" name="Straight Connector 272"/>
            <p:cNvCxnSpPr/>
            <p:nvPr/>
          </p:nvCxnSpPr>
          <p:spPr>
            <a:xfrm flipV="1">
              <a:off x="11339513" y="3315213"/>
              <a:ext cx="1" cy="11523598"/>
            </a:xfrm>
            <a:prstGeom prst="line">
              <a:avLst/>
            </a:prstGeom>
            <a:ln cmpd="dbl">
              <a:solidFill>
                <a:srgbClr val="FF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447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35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50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9023582"/>
              </p:ext>
            </p:extLst>
          </p:nvPr>
        </p:nvGraphicFramePr>
        <p:xfrm>
          <a:off x="845636" y="1978428"/>
          <a:ext cx="10575740" cy="282847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22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1982566218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360092239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69181830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815349068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43948508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73230437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788027841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16355661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367406905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64810459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830586996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019144755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566873793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2219047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767824085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37234264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8452">
                  <a:extLst>
                    <a:ext uri="{9D8B030D-6E8A-4147-A177-3AD203B41FA5}">
                      <a16:colId xmlns:a16="http://schemas.microsoft.com/office/drawing/2014/main" val="248541726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3078150733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142940570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670186481"/>
                    </a:ext>
                  </a:extLst>
                </a:gridCol>
                <a:gridCol w="268453">
                  <a:extLst>
                    <a:ext uri="{9D8B030D-6E8A-4147-A177-3AD203B41FA5}">
                      <a16:colId xmlns:a16="http://schemas.microsoft.com/office/drawing/2014/main" val="4048273574"/>
                    </a:ext>
                  </a:extLst>
                </a:gridCol>
              </a:tblGrid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Phase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 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9819108"/>
                  </a:ext>
                </a:extLst>
              </a:tr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Month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il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e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gust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ember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ember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ember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0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Day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068">
                <a:tc gridSpan="2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PACKAGES &amp; TOPICS: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706269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Centric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920205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User Journey Mapping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8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hnical Design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140022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OOP Technical System Architecture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Central Systems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Links to </a:t>
                      </a: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U </a:t>
                      </a:r>
                      <a:r>
                        <a:rPr kumimoji="0" lang="fr-BE" sz="8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s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7166621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ctional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242966"/>
                  </a:ext>
                </a:extLst>
              </a:tr>
              <a:tr h="245305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en-GB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r Identification, Authentication and Record Matching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Evidence Exchange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465344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257175" marR="0" lvl="0" indent="-762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US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emantics, Formats &amp; Quality WP</a:t>
                      </a: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6165250"/>
                  </a:ext>
                </a:extLst>
              </a:tr>
              <a:tr h="185068">
                <a:tc>
                  <a:txBody>
                    <a:bodyPr/>
                    <a:lstStyle/>
                    <a:p>
                      <a:pPr marL="36195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Courier New" panose="02070309020205020404" pitchFamily="49" charset="0"/>
                        <a:buNone/>
                        <a:tabLst>
                          <a:tab pos="5715000" algn="l"/>
                        </a:tabLst>
                      </a:pPr>
                      <a:r>
                        <a:rPr kumimoji="0" lang="fr-BE" sz="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Methodology</a:t>
                      </a: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C Square Sans Pro" panose="020B05060400000200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4254386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ck-off meetings of Work Packages in Phase 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213811" y="6277520"/>
            <a:ext cx="701038" cy="4861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29</a:t>
            </a:fld>
            <a:endParaRPr lang="en-US" noProof="0" dirty="0"/>
          </a:p>
        </p:txBody>
      </p:sp>
      <p:sp>
        <p:nvSpPr>
          <p:cNvPr id="64" name="Rectangle 256"/>
          <p:cNvSpPr>
            <a:spLocks noChangeArrowheads="1"/>
          </p:cNvSpPr>
          <p:nvPr/>
        </p:nvSpPr>
        <p:spPr bwMode="gray">
          <a:xfrm rot="2700000">
            <a:off x="1047069" y="5370105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177437" y="5313265"/>
            <a:ext cx="27389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date for the kick-off meeting</a:t>
            </a: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38200" y="5295383"/>
            <a:ext cx="3060940" cy="247619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EC Square Sans Pro" panose="020B05060400000200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026081" y="1879910"/>
            <a:ext cx="2824534" cy="310615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 err="1">
              <a:latin typeface="EC Square Sans Pro" panose="020B0506040000020004" pitchFamily="34" charset="0"/>
            </a:endParaRPr>
          </a:p>
        </p:txBody>
      </p:sp>
      <p:sp>
        <p:nvSpPr>
          <p:cNvPr id="43" name="Rectangle 256"/>
          <p:cNvSpPr>
            <a:spLocks noChangeArrowheads="1"/>
          </p:cNvSpPr>
          <p:nvPr/>
        </p:nvSpPr>
        <p:spPr bwMode="gray">
          <a:xfrm rot="2700000">
            <a:off x="4667280" y="2917314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4" name="Rectangle 256"/>
          <p:cNvSpPr>
            <a:spLocks noChangeArrowheads="1"/>
          </p:cNvSpPr>
          <p:nvPr/>
        </p:nvSpPr>
        <p:spPr bwMode="gray">
          <a:xfrm rot="2700000">
            <a:off x="4805490" y="3294367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5" name="Rectangle 256"/>
          <p:cNvSpPr>
            <a:spLocks noChangeArrowheads="1"/>
          </p:cNvSpPr>
          <p:nvPr/>
        </p:nvSpPr>
        <p:spPr bwMode="gray">
          <a:xfrm rot="2700000">
            <a:off x="4805489" y="3476747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6" name="Rectangle 256"/>
          <p:cNvSpPr>
            <a:spLocks noChangeArrowheads="1"/>
          </p:cNvSpPr>
          <p:nvPr/>
        </p:nvSpPr>
        <p:spPr bwMode="gray">
          <a:xfrm rot="2700000">
            <a:off x="4805489" y="3655407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49" name="Rectangle 256"/>
          <p:cNvSpPr>
            <a:spLocks noChangeArrowheads="1"/>
          </p:cNvSpPr>
          <p:nvPr/>
        </p:nvSpPr>
        <p:spPr bwMode="gray">
          <a:xfrm rot="2700000">
            <a:off x="5630750" y="4069226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3" name="Rectangle 256"/>
          <p:cNvSpPr>
            <a:spLocks noChangeArrowheads="1"/>
          </p:cNvSpPr>
          <p:nvPr/>
        </p:nvSpPr>
        <p:spPr bwMode="gray">
          <a:xfrm rot="2700000">
            <a:off x="4676033" y="4287253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55" name="Rectangle 256"/>
          <p:cNvSpPr>
            <a:spLocks noChangeArrowheads="1"/>
          </p:cNvSpPr>
          <p:nvPr/>
        </p:nvSpPr>
        <p:spPr bwMode="gray">
          <a:xfrm rot="2700000">
            <a:off x="5557198" y="4659280"/>
            <a:ext cx="108000" cy="108000"/>
          </a:xfrm>
          <a:prstGeom prst="rect">
            <a:avLst/>
          </a:prstGeom>
          <a:solidFill>
            <a:srgbClr val="003C8C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defTabSz="1828800"/>
            <a:endParaRPr lang="en-US" sz="3600" dirty="0">
              <a:solidFill>
                <a:srgbClr val="4D4D4D"/>
              </a:solidFill>
              <a:latin typeface="Arial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8006994" y="1328468"/>
            <a:ext cx="2042220" cy="3881877"/>
            <a:chOff x="10337678" y="1345043"/>
            <a:chExt cx="2042220" cy="4730007"/>
          </a:xfrm>
        </p:grpSpPr>
        <p:sp>
          <p:nvSpPr>
            <p:cNvPr id="51" name="TextBox 50"/>
            <p:cNvSpPr txBox="1"/>
            <p:nvPr/>
          </p:nvSpPr>
          <p:spPr>
            <a:xfrm>
              <a:off x="10337678" y="1345043"/>
              <a:ext cx="2042220" cy="28126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ctober</a:t>
              </a:r>
            </a:p>
          </p:txBody>
        </p:sp>
        <p:cxnSp>
          <p:nvCxnSpPr>
            <p:cNvPr id="52" name="Straight Connector 51"/>
            <p:cNvCxnSpPr/>
            <p:nvPr/>
          </p:nvCxnSpPr>
          <p:spPr>
            <a:xfrm flipV="1">
              <a:off x="11339513" y="1716355"/>
              <a:ext cx="1" cy="4358695"/>
            </a:xfrm>
            <a:prstGeom prst="line">
              <a:avLst/>
            </a:prstGeom>
            <a:ln cmpd="dbl">
              <a:solidFill>
                <a:srgbClr val="C00000"/>
              </a:solidFill>
              <a:prstDash val="lg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7356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85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inar flow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8"/>
          </p:nvPr>
        </p:nvSpPr>
        <p:spPr/>
        <p:txBody>
          <a:bodyPr>
            <a:normAutofit/>
          </a:bodyPr>
          <a:lstStyle/>
          <a:p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ch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entation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ll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llowed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s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ents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cussion</a:t>
            </a:r>
            <a:r>
              <a:rPr lang="nl-B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B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ssion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Box 11"/>
          <p:cNvSpPr txBox="1"/>
          <p:nvPr/>
        </p:nvSpPr>
        <p:spPr>
          <a:xfrm>
            <a:off x="2040858" y="4150285"/>
            <a:ext cx="1755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entation</a:t>
            </a:r>
            <a:endParaRPr lang="en-GB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54" name="Group 153"/>
          <p:cNvGrpSpPr/>
          <p:nvPr/>
        </p:nvGrpSpPr>
        <p:grpSpPr>
          <a:xfrm>
            <a:off x="2252591" y="2574583"/>
            <a:ext cx="1334765" cy="1117069"/>
            <a:chOff x="1234242" y="2688849"/>
            <a:chExt cx="541491" cy="435340"/>
          </a:xfrm>
          <a:noFill/>
        </p:grpSpPr>
        <p:sp>
          <p:nvSpPr>
            <p:cNvPr id="155" name="Freeform 584"/>
            <p:cNvSpPr>
              <a:spLocks/>
            </p:cNvSpPr>
            <p:nvPr/>
          </p:nvSpPr>
          <p:spPr bwMode="auto">
            <a:xfrm>
              <a:off x="1264060" y="2721052"/>
              <a:ext cx="481856" cy="268360"/>
            </a:xfrm>
            <a:custGeom>
              <a:avLst/>
              <a:gdLst>
                <a:gd name="T0" fmla="*/ 636 w 990"/>
                <a:gd name="T1" fmla="*/ 0 h 551"/>
                <a:gd name="T2" fmla="*/ 956 w 990"/>
                <a:gd name="T3" fmla="*/ 0 h 551"/>
                <a:gd name="T4" fmla="*/ 990 w 990"/>
                <a:gd name="T5" fmla="*/ 33 h 551"/>
                <a:gd name="T6" fmla="*/ 990 w 990"/>
                <a:gd name="T7" fmla="*/ 518 h 551"/>
                <a:gd name="T8" fmla="*/ 956 w 990"/>
                <a:gd name="T9" fmla="*/ 551 h 551"/>
                <a:gd name="T10" fmla="*/ 33 w 990"/>
                <a:gd name="T11" fmla="*/ 551 h 551"/>
                <a:gd name="T12" fmla="*/ 0 w 990"/>
                <a:gd name="T13" fmla="*/ 518 h 551"/>
                <a:gd name="T14" fmla="*/ 0 w 990"/>
                <a:gd name="T15" fmla="*/ 33 h 551"/>
                <a:gd name="T16" fmla="*/ 33 w 990"/>
                <a:gd name="T17" fmla="*/ 0 h 551"/>
                <a:gd name="T18" fmla="*/ 636 w 990"/>
                <a:gd name="T19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0" h="551">
                  <a:moveTo>
                    <a:pt x="636" y="0"/>
                  </a:moveTo>
                  <a:lnTo>
                    <a:pt x="956" y="0"/>
                  </a:lnTo>
                  <a:cubicBezTo>
                    <a:pt x="974" y="0"/>
                    <a:pt x="989" y="14"/>
                    <a:pt x="990" y="33"/>
                  </a:cubicBezTo>
                  <a:lnTo>
                    <a:pt x="990" y="518"/>
                  </a:lnTo>
                  <a:cubicBezTo>
                    <a:pt x="990" y="536"/>
                    <a:pt x="975" y="551"/>
                    <a:pt x="956" y="551"/>
                  </a:cubicBezTo>
                  <a:lnTo>
                    <a:pt x="33" y="551"/>
                  </a:lnTo>
                  <a:cubicBezTo>
                    <a:pt x="15" y="551"/>
                    <a:pt x="0" y="536"/>
                    <a:pt x="0" y="518"/>
                  </a:cubicBezTo>
                  <a:lnTo>
                    <a:pt x="0" y="33"/>
                  </a:lnTo>
                  <a:cubicBezTo>
                    <a:pt x="0" y="14"/>
                    <a:pt x="15" y="0"/>
                    <a:pt x="33" y="0"/>
                  </a:cubicBezTo>
                  <a:lnTo>
                    <a:pt x="636" y="0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585"/>
            <p:cNvSpPr>
              <a:spLocks/>
            </p:cNvSpPr>
            <p:nvPr/>
          </p:nvSpPr>
          <p:spPr bwMode="auto">
            <a:xfrm>
              <a:off x="1417920" y="3097949"/>
              <a:ext cx="172943" cy="26240"/>
            </a:xfrm>
            <a:custGeom>
              <a:avLst/>
              <a:gdLst>
                <a:gd name="T0" fmla="*/ 329 w 356"/>
                <a:gd name="T1" fmla="*/ 53 h 53"/>
                <a:gd name="T2" fmla="*/ 27 w 356"/>
                <a:gd name="T3" fmla="*/ 53 h 53"/>
                <a:gd name="T4" fmla="*/ 0 w 356"/>
                <a:gd name="T5" fmla="*/ 27 h 53"/>
                <a:gd name="T6" fmla="*/ 27 w 356"/>
                <a:gd name="T7" fmla="*/ 0 h 53"/>
                <a:gd name="T8" fmla="*/ 329 w 356"/>
                <a:gd name="T9" fmla="*/ 0 h 53"/>
                <a:gd name="T10" fmla="*/ 356 w 356"/>
                <a:gd name="T11" fmla="*/ 27 h 53"/>
                <a:gd name="T12" fmla="*/ 329 w 356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53">
                  <a:moveTo>
                    <a:pt x="329" y="53"/>
                  </a:moveTo>
                  <a:lnTo>
                    <a:pt x="27" y="53"/>
                  </a:ln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lnTo>
                    <a:pt x="329" y="0"/>
                  </a:lnTo>
                  <a:cubicBezTo>
                    <a:pt x="344" y="0"/>
                    <a:pt x="356" y="12"/>
                    <a:pt x="356" y="27"/>
                  </a:cubicBezTo>
                  <a:cubicBezTo>
                    <a:pt x="356" y="41"/>
                    <a:pt x="344" y="53"/>
                    <a:pt x="329" y="53"/>
                  </a:cubicBez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Freeform 586"/>
            <p:cNvSpPr>
              <a:spLocks/>
            </p:cNvSpPr>
            <p:nvPr/>
          </p:nvSpPr>
          <p:spPr bwMode="auto">
            <a:xfrm>
              <a:off x="1234242" y="2688849"/>
              <a:ext cx="541491" cy="359006"/>
            </a:xfrm>
            <a:custGeom>
              <a:avLst/>
              <a:gdLst>
                <a:gd name="T0" fmla="*/ 735 w 1114"/>
                <a:gd name="T1" fmla="*/ 0 h 737"/>
                <a:gd name="T2" fmla="*/ 1034 w 1114"/>
                <a:gd name="T3" fmla="*/ 0 h 737"/>
                <a:gd name="T4" fmla="*/ 1114 w 1114"/>
                <a:gd name="T5" fmla="*/ 79 h 737"/>
                <a:gd name="T6" fmla="*/ 1114 w 1114"/>
                <a:gd name="T7" fmla="*/ 658 h 737"/>
                <a:gd name="T8" fmla="*/ 1034 w 1114"/>
                <a:gd name="T9" fmla="*/ 737 h 737"/>
                <a:gd name="T10" fmla="*/ 81 w 1114"/>
                <a:gd name="T11" fmla="*/ 737 h 737"/>
                <a:gd name="T12" fmla="*/ 0 w 1114"/>
                <a:gd name="T13" fmla="*/ 658 h 737"/>
                <a:gd name="T14" fmla="*/ 0 w 1114"/>
                <a:gd name="T15" fmla="*/ 79 h 737"/>
                <a:gd name="T16" fmla="*/ 81 w 1114"/>
                <a:gd name="T17" fmla="*/ 0 h 737"/>
                <a:gd name="T18" fmla="*/ 735 w 1114"/>
                <a:gd name="T19" fmla="*/ 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4" h="737">
                  <a:moveTo>
                    <a:pt x="735" y="0"/>
                  </a:moveTo>
                  <a:lnTo>
                    <a:pt x="1034" y="0"/>
                  </a:lnTo>
                  <a:cubicBezTo>
                    <a:pt x="1077" y="0"/>
                    <a:pt x="1113" y="35"/>
                    <a:pt x="1114" y="79"/>
                  </a:cubicBezTo>
                  <a:lnTo>
                    <a:pt x="1114" y="658"/>
                  </a:lnTo>
                  <a:cubicBezTo>
                    <a:pt x="1113" y="702"/>
                    <a:pt x="1077" y="737"/>
                    <a:pt x="1034" y="737"/>
                  </a:cubicBezTo>
                  <a:lnTo>
                    <a:pt x="81" y="737"/>
                  </a:lnTo>
                  <a:cubicBezTo>
                    <a:pt x="37" y="737"/>
                    <a:pt x="1" y="702"/>
                    <a:pt x="0" y="658"/>
                  </a:cubicBezTo>
                  <a:lnTo>
                    <a:pt x="0" y="79"/>
                  </a:lnTo>
                  <a:cubicBezTo>
                    <a:pt x="1" y="35"/>
                    <a:pt x="37" y="0"/>
                    <a:pt x="81" y="0"/>
                  </a:cubicBezTo>
                  <a:lnTo>
                    <a:pt x="735" y="0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Rectangle 587"/>
            <p:cNvSpPr>
              <a:spLocks noChangeArrowheads="1"/>
            </p:cNvSpPr>
            <p:nvPr/>
          </p:nvSpPr>
          <p:spPr bwMode="auto">
            <a:xfrm>
              <a:off x="1468014" y="3047855"/>
              <a:ext cx="72755" cy="50094"/>
            </a:xfrm>
            <a:prstGeom prst="rect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Line 588"/>
            <p:cNvSpPr>
              <a:spLocks noChangeShapeType="1"/>
            </p:cNvSpPr>
            <p:nvPr/>
          </p:nvSpPr>
          <p:spPr bwMode="auto">
            <a:xfrm>
              <a:off x="1450123" y="3016844"/>
              <a:ext cx="115693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Line 589"/>
            <p:cNvSpPr>
              <a:spLocks noChangeShapeType="1"/>
            </p:cNvSpPr>
            <p:nvPr/>
          </p:nvSpPr>
          <p:spPr bwMode="auto">
            <a:xfrm>
              <a:off x="1611139" y="2789037"/>
              <a:ext cx="27432" cy="3816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Oval 590"/>
            <p:cNvSpPr>
              <a:spLocks noChangeArrowheads="1"/>
            </p:cNvSpPr>
            <p:nvPr/>
          </p:nvSpPr>
          <p:spPr bwMode="auto">
            <a:xfrm>
              <a:off x="1577743" y="2752063"/>
              <a:ext cx="40552" cy="4174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Oval 591"/>
            <p:cNvSpPr>
              <a:spLocks noChangeArrowheads="1"/>
            </p:cNvSpPr>
            <p:nvPr/>
          </p:nvSpPr>
          <p:spPr bwMode="auto">
            <a:xfrm>
              <a:off x="1621874" y="2827203"/>
              <a:ext cx="54865" cy="53672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Oval 592"/>
            <p:cNvSpPr>
              <a:spLocks noChangeArrowheads="1"/>
            </p:cNvSpPr>
            <p:nvPr/>
          </p:nvSpPr>
          <p:spPr bwMode="auto">
            <a:xfrm>
              <a:off x="1546733" y="2915464"/>
              <a:ext cx="39360" cy="39359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Oval 593"/>
            <p:cNvSpPr>
              <a:spLocks noChangeArrowheads="1"/>
            </p:cNvSpPr>
            <p:nvPr/>
          </p:nvSpPr>
          <p:spPr bwMode="auto">
            <a:xfrm>
              <a:off x="1434618" y="2867756"/>
              <a:ext cx="48901" cy="4770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Oval 594"/>
            <p:cNvSpPr>
              <a:spLocks noChangeArrowheads="1"/>
            </p:cNvSpPr>
            <p:nvPr/>
          </p:nvSpPr>
          <p:spPr bwMode="auto">
            <a:xfrm>
              <a:off x="1302227" y="2910693"/>
              <a:ext cx="41745" cy="4174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Line 595"/>
            <p:cNvSpPr>
              <a:spLocks noChangeShapeType="1"/>
            </p:cNvSpPr>
            <p:nvPr/>
          </p:nvSpPr>
          <p:spPr bwMode="auto">
            <a:xfrm flipV="1">
              <a:off x="1580129" y="2876105"/>
              <a:ext cx="48901" cy="45323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Line 596"/>
            <p:cNvSpPr>
              <a:spLocks noChangeShapeType="1"/>
            </p:cNvSpPr>
            <p:nvPr/>
          </p:nvSpPr>
          <p:spPr bwMode="auto">
            <a:xfrm>
              <a:off x="1479941" y="2904730"/>
              <a:ext cx="66792" cy="2624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Line 597"/>
            <p:cNvSpPr>
              <a:spLocks noChangeShapeType="1"/>
            </p:cNvSpPr>
            <p:nvPr/>
          </p:nvSpPr>
          <p:spPr bwMode="auto">
            <a:xfrm flipV="1">
              <a:off x="1343972" y="2898766"/>
              <a:ext cx="90646" cy="2862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Oval 598"/>
            <p:cNvSpPr>
              <a:spLocks noChangeArrowheads="1"/>
            </p:cNvSpPr>
            <p:nvPr/>
          </p:nvSpPr>
          <p:spPr bwMode="auto">
            <a:xfrm>
              <a:off x="1338008" y="2805735"/>
              <a:ext cx="17891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Oval 599"/>
            <p:cNvSpPr>
              <a:spLocks noChangeArrowheads="1"/>
            </p:cNvSpPr>
            <p:nvPr/>
          </p:nvSpPr>
          <p:spPr bwMode="auto">
            <a:xfrm>
              <a:off x="1456087" y="2805735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Oval 600"/>
            <p:cNvSpPr>
              <a:spLocks noChangeArrowheads="1"/>
            </p:cNvSpPr>
            <p:nvPr/>
          </p:nvSpPr>
          <p:spPr bwMode="auto">
            <a:xfrm>
              <a:off x="1456087" y="2935740"/>
              <a:ext cx="16698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Oval 601"/>
            <p:cNvSpPr>
              <a:spLocks noChangeArrowheads="1"/>
            </p:cNvSpPr>
            <p:nvPr/>
          </p:nvSpPr>
          <p:spPr bwMode="auto">
            <a:xfrm>
              <a:off x="1535998" y="2805735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Oval 602"/>
            <p:cNvSpPr>
              <a:spLocks noChangeArrowheads="1"/>
            </p:cNvSpPr>
            <p:nvPr/>
          </p:nvSpPr>
          <p:spPr bwMode="auto">
            <a:xfrm>
              <a:off x="1535998" y="2893995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Oval 603"/>
            <p:cNvSpPr>
              <a:spLocks noChangeArrowheads="1"/>
            </p:cNvSpPr>
            <p:nvPr/>
          </p:nvSpPr>
          <p:spPr bwMode="auto">
            <a:xfrm>
              <a:off x="1302227" y="2805735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Line 604"/>
            <p:cNvSpPr>
              <a:spLocks noChangeShapeType="1"/>
            </p:cNvSpPr>
            <p:nvPr/>
          </p:nvSpPr>
          <p:spPr bwMode="auto">
            <a:xfrm>
              <a:off x="1425076" y="2805735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Line 605"/>
            <p:cNvSpPr>
              <a:spLocks noChangeShapeType="1"/>
            </p:cNvSpPr>
            <p:nvPr/>
          </p:nvSpPr>
          <p:spPr bwMode="auto">
            <a:xfrm>
              <a:off x="1386909" y="2805735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Line 606"/>
            <p:cNvSpPr>
              <a:spLocks noChangeShapeType="1"/>
            </p:cNvSpPr>
            <p:nvPr/>
          </p:nvSpPr>
          <p:spPr bwMode="auto">
            <a:xfrm>
              <a:off x="1504988" y="2805735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Line 607"/>
            <p:cNvSpPr>
              <a:spLocks noChangeShapeType="1"/>
            </p:cNvSpPr>
            <p:nvPr/>
          </p:nvSpPr>
          <p:spPr bwMode="auto">
            <a:xfrm>
              <a:off x="1504988" y="2893995"/>
              <a:ext cx="0" cy="8349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Line 608"/>
            <p:cNvSpPr>
              <a:spLocks noChangeShapeType="1"/>
            </p:cNvSpPr>
            <p:nvPr/>
          </p:nvSpPr>
          <p:spPr bwMode="auto">
            <a:xfrm>
              <a:off x="1504988" y="2935740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Line 609"/>
            <p:cNvSpPr>
              <a:spLocks noChangeShapeType="1"/>
            </p:cNvSpPr>
            <p:nvPr/>
          </p:nvSpPr>
          <p:spPr bwMode="auto">
            <a:xfrm>
              <a:off x="1621874" y="2935740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1" name="Line 610"/>
            <p:cNvSpPr>
              <a:spLocks noChangeShapeType="1"/>
            </p:cNvSpPr>
            <p:nvPr/>
          </p:nvSpPr>
          <p:spPr bwMode="auto">
            <a:xfrm>
              <a:off x="1583707" y="2810506"/>
              <a:ext cx="0" cy="1192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Line 611"/>
            <p:cNvSpPr>
              <a:spLocks noChangeShapeType="1"/>
            </p:cNvSpPr>
            <p:nvPr/>
          </p:nvSpPr>
          <p:spPr bwMode="auto">
            <a:xfrm>
              <a:off x="1660040" y="2810506"/>
              <a:ext cx="0" cy="477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Line 612"/>
            <p:cNvSpPr>
              <a:spLocks noChangeShapeType="1"/>
            </p:cNvSpPr>
            <p:nvPr/>
          </p:nvSpPr>
          <p:spPr bwMode="auto">
            <a:xfrm>
              <a:off x="1660040" y="2893995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Oval 613"/>
            <p:cNvSpPr>
              <a:spLocks noChangeArrowheads="1"/>
            </p:cNvSpPr>
            <p:nvPr/>
          </p:nvSpPr>
          <p:spPr bwMode="auto">
            <a:xfrm>
              <a:off x="1496639" y="2759219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Oval 614"/>
            <p:cNvSpPr>
              <a:spLocks noChangeArrowheads="1"/>
            </p:cNvSpPr>
            <p:nvPr/>
          </p:nvSpPr>
          <p:spPr bwMode="auto">
            <a:xfrm>
              <a:off x="1416727" y="2759219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Oval 615"/>
            <p:cNvSpPr>
              <a:spLocks noChangeArrowheads="1"/>
            </p:cNvSpPr>
            <p:nvPr/>
          </p:nvSpPr>
          <p:spPr bwMode="auto">
            <a:xfrm>
              <a:off x="1651691" y="2759219"/>
              <a:ext cx="15505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Line 616"/>
            <p:cNvSpPr>
              <a:spLocks noChangeShapeType="1"/>
            </p:cNvSpPr>
            <p:nvPr/>
          </p:nvSpPr>
          <p:spPr bwMode="auto">
            <a:xfrm>
              <a:off x="1544347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Line 617"/>
            <p:cNvSpPr>
              <a:spLocks noChangeShapeType="1"/>
            </p:cNvSpPr>
            <p:nvPr/>
          </p:nvSpPr>
          <p:spPr bwMode="auto">
            <a:xfrm>
              <a:off x="1464436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Line 618"/>
            <p:cNvSpPr>
              <a:spLocks noChangeShapeType="1"/>
            </p:cNvSpPr>
            <p:nvPr/>
          </p:nvSpPr>
          <p:spPr bwMode="auto">
            <a:xfrm>
              <a:off x="1346357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Line 619"/>
            <p:cNvSpPr>
              <a:spLocks noChangeShapeType="1"/>
            </p:cNvSpPr>
            <p:nvPr/>
          </p:nvSpPr>
          <p:spPr bwMode="auto">
            <a:xfrm>
              <a:off x="1386909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Line 620"/>
            <p:cNvSpPr>
              <a:spLocks noChangeShapeType="1"/>
            </p:cNvSpPr>
            <p:nvPr/>
          </p:nvSpPr>
          <p:spPr bwMode="auto">
            <a:xfrm>
              <a:off x="1309383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Oval 621"/>
            <p:cNvSpPr>
              <a:spLocks noChangeArrowheads="1"/>
            </p:cNvSpPr>
            <p:nvPr/>
          </p:nvSpPr>
          <p:spPr bwMode="auto">
            <a:xfrm>
              <a:off x="1496639" y="2848672"/>
              <a:ext cx="16698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Oval 622"/>
            <p:cNvSpPr>
              <a:spLocks noChangeArrowheads="1"/>
            </p:cNvSpPr>
            <p:nvPr/>
          </p:nvSpPr>
          <p:spPr bwMode="auto">
            <a:xfrm>
              <a:off x="1575358" y="2848672"/>
              <a:ext cx="16698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Oval 623"/>
            <p:cNvSpPr>
              <a:spLocks noChangeArrowheads="1"/>
            </p:cNvSpPr>
            <p:nvPr/>
          </p:nvSpPr>
          <p:spPr bwMode="auto">
            <a:xfrm>
              <a:off x="1416727" y="2848672"/>
              <a:ext cx="16698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Oval 624"/>
            <p:cNvSpPr>
              <a:spLocks noChangeArrowheads="1"/>
            </p:cNvSpPr>
            <p:nvPr/>
          </p:nvSpPr>
          <p:spPr bwMode="auto">
            <a:xfrm>
              <a:off x="1651691" y="2935740"/>
              <a:ext cx="15505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Line 625"/>
            <p:cNvSpPr>
              <a:spLocks noChangeShapeType="1"/>
            </p:cNvSpPr>
            <p:nvPr/>
          </p:nvSpPr>
          <p:spPr bwMode="auto">
            <a:xfrm>
              <a:off x="1544347" y="2848672"/>
              <a:ext cx="0" cy="1550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Line 626"/>
            <p:cNvSpPr>
              <a:spLocks noChangeShapeType="1"/>
            </p:cNvSpPr>
            <p:nvPr/>
          </p:nvSpPr>
          <p:spPr bwMode="auto">
            <a:xfrm>
              <a:off x="1583707" y="2893995"/>
              <a:ext cx="0" cy="477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Line 627"/>
            <p:cNvSpPr>
              <a:spLocks noChangeShapeType="1"/>
            </p:cNvSpPr>
            <p:nvPr/>
          </p:nvSpPr>
          <p:spPr bwMode="auto">
            <a:xfrm>
              <a:off x="1464436" y="2848672"/>
              <a:ext cx="0" cy="357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Line 628"/>
            <p:cNvSpPr>
              <a:spLocks noChangeShapeType="1"/>
            </p:cNvSpPr>
            <p:nvPr/>
          </p:nvSpPr>
          <p:spPr bwMode="auto">
            <a:xfrm>
              <a:off x="1346357" y="2848672"/>
              <a:ext cx="0" cy="1550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Line 629"/>
            <p:cNvSpPr>
              <a:spLocks noChangeShapeType="1"/>
            </p:cNvSpPr>
            <p:nvPr/>
          </p:nvSpPr>
          <p:spPr bwMode="auto">
            <a:xfrm>
              <a:off x="1386909" y="2848672"/>
              <a:ext cx="0" cy="1550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Line 630"/>
            <p:cNvSpPr>
              <a:spLocks noChangeShapeType="1"/>
            </p:cNvSpPr>
            <p:nvPr/>
          </p:nvSpPr>
          <p:spPr bwMode="auto">
            <a:xfrm>
              <a:off x="1309383" y="2848672"/>
              <a:ext cx="0" cy="1550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Line 631"/>
            <p:cNvSpPr>
              <a:spLocks noChangeShapeType="1"/>
            </p:cNvSpPr>
            <p:nvPr/>
          </p:nvSpPr>
          <p:spPr bwMode="auto">
            <a:xfrm>
              <a:off x="1346357" y="2893995"/>
              <a:ext cx="0" cy="9542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Line 632"/>
            <p:cNvSpPr>
              <a:spLocks noChangeShapeType="1"/>
            </p:cNvSpPr>
            <p:nvPr/>
          </p:nvSpPr>
          <p:spPr bwMode="auto">
            <a:xfrm>
              <a:off x="1386909" y="2893995"/>
              <a:ext cx="0" cy="5964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Line 633"/>
            <p:cNvSpPr>
              <a:spLocks noChangeShapeType="1"/>
            </p:cNvSpPr>
            <p:nvPr/>
          </p:nvSpPr>
          <p:spPr bwMode="auto">
            <a:xfrm>
              <a:off x="1425076" y="2935740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5" name="Line 634"/>
            <p:cNvSpPr>
              <a:spLocks noChangeShapeType="1"/>
            </p:cNvSpPr>
            <p:nvPr/>
          </p:nvSpPr>
          <p:spPr bwMode="auto">
            <a:xfrm>
              <a:off x="1386909" y="2935740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Line 635"/>
            <p:cNvSpPr>
              <a:spLocks noChangeShapeType="1"/>
            </p:cNvSpPr>
            <p:nvPr/>
          </p:nvSpPr>
          <p:spPr bwMode="auto">
            <a:xfrm>
              <a:off x="1309383" y="2893995"/>
              <a:ext cx="0" cy="4771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Oval 636"/>
            <p:cNvSpPr>
              <a:spLocks noChangeArrowheads="1"/>
            </p:cNvSpPr>
            <p:nvPr/>
          </p:nvSpPr>
          <p:spPr bwMode="auto">
            <a:xfrm>
              <a:off x="1691051" y="2805735"/>
              <a:ext cx="16698" cy="16698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8" name="Oval 637"/>
            <p:cNvSpPr>
              <a:spLocks noChangeArrowheads="1"/>
            </p:cNvSpPr>
            <p:nvPr/>
          </p:nvSpPr>
          <p:spPr bwMode="auto">
            <a:xfrm>
              <a:off x="1691051" y="2935740"/>
              <a:ext cx="16698" cy="15505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9" name="Line 638"/>
            <p:cNvSpPr>
              <a:spLocks noChangeShapeType="1"/>
            </p:cNvSpPr>
            <p:nvPr/>
          </p:nvSpPr>
          <p:spPr bwMode="auto">
            <a:xfrm>
              <a:off x="1699400" y="2759219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0" name="Line 639"/>
            <p:cNvSpPr>
              <a:spLocks noChangeShapeType="1"/>
            </p:cNvSpPr>
            <p:nvPr/>
          </p:nvSpPr>
          <p:spPr bwMode="auto">
            <a:xfrm>
              <a:off x="1699400" y="2848672"/>
              <a:ext cx="0" cy="15505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Line 640"/>
            <p:cNvSpPr>
              <a:spLocks noChangeShapeType="1"/>
            </p:cNvSpPr>
            <p:nvPr/>
          </p:nvSpPr>
          <p:spPr bwMode="auto">
            <a:xfrm>
              <a:off x="1699400" y="2893995"/>
              <a:ext cx="0" cy="16698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12" name="Group 414"/>
          <p:cNvGrpSpPr>
            <a:grpSpLocks noChangeAspect="1"/>
          </p:cNvGrpSpPr>
          <p:nvPr/>
        </p:nvGrpSpPr>
        <p:grpSpPr bwMode="auto">
          <a:xfrm>
            <a:off x="5376615" y="2580855"/>
            <a:ext cx="1059478" cy="1074142"/>
            <a:chOff x="5760" y="1680"/>
            <a:chExt cx="289" cy="293"/>
          </a:xfrm>
          <a:noFill/>
        </p:grpSpPr>
        <p:sp>
          <p:nvSpPr>
            <p:cNvPr id="213" name="Freeform 415"/>
            <p:cNvSpPr>
              <a:spLocks/>
            </p:cNvSpPr>
            <p:nvPr/>
          </p:nvSpPr>
          <p:spPr bwMode="auto">
            <a:xfrm>
              <a:off x="5760" y="1680"/>
              <a:ext cx="289" cy="78"/>
            </a:xfrm>
            <a:custGeom>
              <a:avLst/>
              <a:gdLst>
                <a:gd name="T0" fmla="*/ 20 w 643"/>
                <a:gd name="T1" fmla="*/ 0 h 173"/>
                <a:gd name="T2" fmla="*/ 622 w 643"/>
                <a:gd name="T3" fmla="*/ 0 h 173"/>
                <a:gd name="T4" fmla="*/ 643 w 643"/>
                <a:gd name="T5" fmla="*/ 20 h 173"/>
                <a:gd name="T6" fmla="*/ 643 w 643"/>
                <a:gd name="T7" fmla="*/ 153 h 173"/>
                <a:gd name="T8" fmla="*/ 622 w 643"/>
                <a:gd name="T9" fmla="*/ 173 h 173"/>
                <a:gd name="T10" fmla="*/ 20 w 643"/>
                <a:gd name="T11" fmla="*/ 173 h 173"/>
                <a:gd name="T12" fmla="*/ 0 w 643"/>
                <a:gd name="T13" fmla="*/ 153 h 173"/>
                <a:gd name="T14" fmla="*/ 0 w 643"/>
                <a:gd name="T15" fmla="*/ 20 h 173"/>
                <a:gd name="T16" fmla="*/ 20 w 643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3" h="173">
                  <a:moveTo>
                    <a:pt x="20" y="0"/>
                  </a:moveTo>
                  <a:lnTo>
                    <a:pt x="622" y="0"/>
                  </a:lnTo>
                  <a:cubicBezTo>
                    <a:pt x="634" y="0"/>
                    <a:pt x="643" y="9"/>
                    <a:pt x="643" y="20"/>
                  </a:cubicBezTo>
                  <a:lnTo>
                    <a:pt x="643" y="153"/>
                  </a:lnTo>
                  <a:cubicBezTo>
                    <a:pt x="643" y="164"/>
                    <a:pt x="634" y="173"/>
                    <a:pt x="622" y="173"/>
                  </a:cubicBezTo>
                  <a:lnTo>
                    <a:pt x="20" y="173"/>
                  </a:lnTo>
                  <a:cubicBezTo>
                    <a:pt x="9" y="173"/>
                    <a:pt x="0" y="164"/>
                    <a:pt x="0" y="153"/>
                  </a:cubicBez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Freeform 416"/>
            <p:cNvSpPr>
              <a:spLocks/>
            </p:cNvSpPr>
            <p:nvPr/>
          </p:nvSpPr>
          <p:spPr bwMode="auto">
            <a:xfrm>
              <a:off x="5760" y="1787"/>
              <a:ext cx="289" cy="79"/>
            </a:xfrm>
            <a:custGeom>
              <a:avLst/>
              <a:gdLst>
                <a:gd name="T0" fmla="*/ 20 w 643"/>
                <a:gd name="T1" fmla="*/ 0 h 174"/>
                <a:gd name="T2" fmla="*/ 622 w 643"/>
                <a:gd name="T3" fmla="*/ 0 h 174"/>
                <a:gd name="T4" fmla="*/ 643 w 643"/>
                <a:gd name="T5" fmla="*/ 20 h 174"/>
                <a:gd name="T6" fmla="*/ 643 w 643"/>
                <a:gd name="T7" fmla="*/ 154 h 174"/>
                <a:gd name="T8" fmla="*/ 622 w 643"/>
                <a:gd name="T9" fmla="*/ 174 h 174"/>
                <a:gd name="T10" fmla="*/ 20 w 643"/>
                <a:gd name="T11" fmla="*/ 174 h 174"/>
                <a:gd name="T12" fmla="*/ 0 w 643"/>
                <a:gd name="T13" fmla="*/ 154 h 174"/>
                <a:gd name="T14" fmla="*/ 0 w 643"/>
                <a:gd name="T15" fmla="*/ 20 h 174"/>
                <a:gd name="T16" fmla="*/ 20 w 643"/>
                <a:gd name="T17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3" h="174">
                  <a:moveTo>
                    <a:pt x="20" y="0"/>
                  </a:moveTo>
                  <a:lnTo>
                    <a:pt x="622" y="0"/>
                  </a:lnTo>
                  <a:cubicBezTo>
                    <a:pt x="634" y="0"/>
                    <a:pt x="643" y="9"/>
                    <a:pt x="643" y="20"/>
                  </a:cubicBezTo>
                  <a:lnTo>
                    <a:pt x="643" y="154"/>
                  </a:lnTo>
                  <a:cubicBezTo>
                    <a:pt x="643" y="165"/>
                    <a:pt x="634" y="174"/>
                    <a:pt x="622" y="174"/>
                  </a:cubicBezTo>
                  <a:lnTo>
                    <a:pt x="20" y="174"/>
                  </a:lnTo>
                  <a:cubicBezTo>
                    <a:pt x="9" y="174"/>
                    <a:pt x="0" y="165"/>
                    <a:pt x="0" y="154"/>
                  </a:cubicBez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" name="Freeform 417"/>
            <p:cNvSpPr>
              <a:spLocks/>
            </p:cNvSpPr>
            <p:nvPr/>
          </p:nvSpPr>
          <p:spPr bwMode="auto">
            <a:xfrm>
              <a:off x="5760" y="1895"/>
              <a:ext cx="289" cy="78"/>
            </a:xfrm>
            <a:custGeom>
              <a:avLst/>
              <a:gdLst>
                <a:gd name="T0" fmla="*/ 20 w 643"/>
                <a:gd name="T1" fmla="*/ 0 h 173"/>
                <a:gd name="T2" fmla="*/ 622 w 643"/>
                <a:gd name="T3" fmla="*/ 0 h 173"/>
                <a:gd name="T4" fmla="*/ 643 w 643"/>
                <a:gd name="T5" fmla="*/ 20 h 173"/>
                <a:gd name="T6" fmla="*/ 643 w 643"/>
                <a:gd name="T7" fmla="*/ 153 h 173"/>
                <a:gd name="T8" fmla="*/ 622 w 643"/>
                <a:gd name="T9" fmla="*/ 173 h 173"/>
                <a:gd name="T10" fmla="*/ 20 w 643"/>
                <a:gd name="T11" fmla="*/ 173 h 173"/>
                <a:gd name="T12" fmla="*/ 0 w 643"/>
                <a:gd name="T13" fmla="*/ 153 h 173"/>
                <a:gd name="T14" fmla="*/ 0 w 643"/>
                <a:gd name="T15" fmla="*/ 20 h 173"/>
                <a:gd name="T16" fmla="*/ 20 w 643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3" h="173">
                  <a:moveTo>
                    <a:pt x="20" y="0"/>
                  </a:moveTo>
                  <a:lnTo>
                    <a:pt x="622" y="0"/>
                  </a:lnTo>
                  <a:cubicBezTo>
                    <a:pt x="634" y="0"/>
                    <a:pt x="643" y="9"/>
                    <a:pt x="643" y="20"/>
                  </a:cubicBezTo>
                  <a:lnTo>
                    <a:pt x="643" y="153"/>
                  </a:lnTo>
                  <a:cubicBezTo>
                    <a:pt x="643" y="164"/>
                    <a:pt x="634" y="173"/>
                    <a:pt x="622" y="173"/>
                  </a:cubicBezTo>
                  <a:lnTo>
                    <a:pt x="20" y="173"/>
                  </a:lnTo>
                  <a:cubicBezTo>
                    <a:pt x="9" y="173"/>
                    <a:pt x="0" y="164"/>
                    <a:pt x="0" y="153"/>
                  </a:cubicBezTo>
                  <a:lnTo>
                    <a:pt x="0" y="20"/>
                  </a:lnTo>
                  <a:cubicBezTo>
                    <a:pt x="0" y="9"/>
                    <a:pt x="9" y="0"/>
                    <a:pt x="20" y="0"/>
                  </a:cubicBez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Line 418"/>
            <p:cNvSpPr>
              <a:spLocks noChangeShapeType="1"/>
            </p:cNvSpPr>
            <p:nvPr/>
          </p:nvSpPr>
          <p:spPr bwMode="auto">
            <a:xfrm>
              <a:off x="5885" y="1934"/>
              <a:ext cx="134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Line 419"/>
            <p:cNvSpPr>
              <a:spLocks noChangeShapeType="1"/>
            </p:cNvSpPr>
            <p:nvPr/>
          </p:nvSpPr>
          <p:spPr bwMode="auto">
            <a:xfrm>
              <a:off x="5885" y="1827"/>
              <a:ext cx="134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Line 420"/>
            <p:cNvSpPr>
              <a:spLocks noChangeShapeType="1"/>
            </p:cNvSpPr>
            <p:nvPr/>
          </p:nvSpPr>
          <p:spPr bwMode="auto">
            <a:xfrm>
              <a:off x="5885" y="1719"/>
              <a:ext cx="134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Line 421"/>
            <p:cNvSpPr>
              <a:spLocks noChangeShapeType="1"/>
            </p:cNvSpPr>
            <p:nvPr/>
          </p:nvSpPr>
          <p:spPr bwMode="auto">
            <a:xfrm flipH="1">
              <a:off x="5828" y="1719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Line 422"/>
            <p:cNvSpPr>
              <a:spLocks noChangeShapeType="1"/>
            </p:cNvSpPr>
            <p:nvPr/>
          </p:nvSpPr>
          <p:spPr bwMode="auto">
            <a:xfrm flipH="1">
              <a:off x="5787" y="1719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Line 423"/>
            <p:cNvSpPr>
              <a:spLocks noChangeShapeType="1"/>
            </p:cNvSpPr>
            <p:nvPr/>
          </p:nvSpPr>
          <p:spPr bwMode="auto">
            <a:xfrm flipH="1">
              <a:off x="5828" y="1827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2" name="Line 424"/>
            <p:cNvSpPr>
              <a:spLocks noChangeShapeType="1"/>
            </p:cNvSpPr>
            <p:nvPr/>
          </p:nvSpPr>
          <p:spPr bwMode="auto">
            <a:xfrm flipH="1">
              <a:off x="5787" y="1827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Line 425"/>
            <p:cNvSpPr>
              <a:spLocks noChangeShapeType="1"/>
            </p:cNvSpPr>
            <p:nvPr/>
          </p:nvSpPr>
          <p:spPr bwMode="auto">
            <a:xfrm flipH="1">
              <a:off x="5828" y="1934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Line 426"/>
            <p:cNvSpPr>
              <a:spLocks noChangeShapeType="1"/>
            </p:cNvSpPr>
            <p:nvPr/>
          </p:nvSpPr>
          <p:spPr bwMode="auto">
            <a:xfrm flipH="1">
              <a:off x="5787" y="1934"/>
              <a:ext cx="19" cy="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Line 427"/>
            <p:cNvSpPr>
              <a:spLocks noChangeShapeType="1"/>
            </p:cNvSpPr>
            <p:nvPr/>
          </p:nvSpPr>
          <p:spPr bwMode="auto">
            <a:xfrm>
              <a:off x="5904" y="1758"/>
              <a:ext cx="0" cy="2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Line 428"/>
            <p:cNvSpPr>
              <a:spLocks noChangeShapeType="1"/>
            </p:cNvSpPr>
            <p:nvPr/>
          </p:nvSpPr>
          <p:spPr bwMode="auto">
            <a:xfrm>
              <a:off x="5904" y="1867"/>
              <a:ext cx="0" cy="2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1" name="Group 4"/>
          <p:cNvGrpSpPr>
            <a:grpSpLocks noChangeAspect="1"/>
          </p:cNvGrpSpPr>
          <p:nvPr/>
        </p:nvGrpSpPr>
        <p:grpSpPr bwMode="auto">
          <a:xfrm>
            <a:off x="7962821" y="2188742"/>
            <a:ext cx="1824477" cy="1824477"/>
            <a:chOff x="7114" y="467"/>
            <a:chExt cx="351" cy="351"/>
          </a:xfrm>
          <a:noFill/>
        </p:grpSpPr>
        <p:sp>
          <p:nvSpPr>
            <p:cNvPr id="242" name="Oval 5"/>
            <p:cNvSpPr>
              <a:spLocks noChangeArrowheads="1"/>
            </p:cNvSpPr>
            <p:nvPr/>
          </p:nvSpPr>
          <p:spPr bwMode="auto">
            <a:xfrm>
              <a:off x="7114" y="467"/>
              <a:ext cx="351" cy="351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Freeform 6"/>
            <p:cNvSpPr>
              <a:spLocks/>
            </p:cNvSpPr>
            <p:nvPr/>
          </p:nvSpPr>
          <p:spPr bwMode="auto">
            <a:xfrm>
              <a:off x="7238" y="601"/>
              <a:ext cx="97" cy="79"/>
            </a:xfrm>
            <a:custGeom>
              <a:avLst/>
              <a:gdLst>
                <a:gd name="T0" fmla="*/ 429 w 429"/>
                <a:gd name="T1" fmla="*/ 0 h 349"/>
                <a:gd name="T2" fmla="*/ 423 w 429"/>
                <a:gd name="T3" fmla="*/ 54 h 349"/>
                <a:gd name="T4" fmla="*/ 377 w 429"/>
                <a:gd name="T5" fmla="*/ 240 h 349"/>
                <a:gd name="T6" fmla="*/ 338 w 429"/>
                <a:gd name="T7" fmla="*/ 287 h 349"/>
                <a:gd name="T8" fmla="*/ 102 w 429"/>
                <a:gd name="T9" fmla="*/ 287 h 349"/>
                <a:gd name="T10" fmla="*/ 56 w 429"/>
                <a:gd name="T11" fmla="*/ 232 h 349"/>
                <a:gd name="T12" fmla="*/ 6 w 429"/>
                <a:gd name="T13" fmla="*/ 67 h 349"/>
                <a:gd name="T14" fmla="*/ 0 w 429"/>
                <a:gd name="T15" fmla="*/ 5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349">
                  <a:moveTo>
                    <a:pt x="429" y="0"/>
                  </a:moveTo>
                  <a:cubicBezTo>
                    <a:pt x="429" y="3"/>
                    <a:pt x="423" y="50"/>
                    <a:pt x="423" y="54"/>
                  </a:cubicBezTo>
                  <a:cubicBezTo>
                    <a:pt x="422" y="118"/>
                    <a:pt x="406" y="182"/>
                    <a:pt x="377" y="240"/>
                  </a:cubicBezTo>
                  <a:cubicBezTo>
                    <a:pt x="367" y="258"/>
                    <a:pt x="354" y="273"/>
                    <a:pt x="338" y="287"/>
                  </a:cubicBezTo>
                  <a:cubicBezTo>
                    <a:pt x="272" y="349"/>
                    <a:pt x="168" y="349"/>
                    <a:pt x="102" y="287"/>
                  </a:cubicBezTo>
                  <a:cubicBezTo>
                    <a:pt x="84" y="271"/>
                    <a:pt x="69" y="253"/>
                    <a:pt x="56" y="232"/>
                  </a:cubicBezTo>
                  <a:cubicBezTo>
                    <a:pt x="26" y="182"/>
                    <a:pt x="9" y="125"/>
                    <a:pt x="6" y="67"/>
                  </a:cubicBezTo>
                  <a:cubicBezTo>
                    <a:pt x="6" y="63"/>
                    <a:pt x="0" y="10"/>
                    <a:pt x="0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Freeform 7"/>
            <p:cNvSpPr>
              <a:spLocks/>
            </p:cNvSpPr>
            <p:nvPr/>
          </p:nvSpPr>
          <p:spPr bwMode="auto">
            <a:xfrm>
              <a:off x="7332" y="601"/>
              <a:ext cx="16" cy="34"/>
            </a:xfrm>
            <a:custGeom>
              <a:avLst/>
              <a:gdLst>
                <a:gd name="T0" fmla="*/ 24 w 71"/>
                <a:gd name="T1" fmla="*/ 8 h 150"/>
                <a:gd name="T2" fmla="*/ 54 w 71"/>
                <a:gd name="T3" fmla="*/ 70 h 150"/>
                <a:gd name="T4" fmla="*/ 0 w 71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150">
                  <a:moveTo>
                    <a:pt x="24" y="8"/>
                  </a:moveTo>
                  <a:cubicBezTo>
                    <a:pt x="24" y="8"/>
                    <a:pt x="71" y="0"/>
                    <a:pt x="54" y="70"/>
                  </a:cubicBezTo>
                  <a:cubicBezTo>
                    <a:pt x="37" y="140"/>
                    <a:pt x="0" y="150"/>
                    <a:pt x="0" y="15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8"/>
            <p:cNvSpPr>
              <a:spLocks/>
            </p:cNvSpPr>
            <p:nvPr/>
          </p:nvSpPr>
          <p:spPr bwMode="auto">
            <a:xfrm>
              <a:off x="7225" y="601"/>
              <a:ext cx="17" cy="34"/>
            </a:xfrm>
            <a:custGeom>
              <a:avLst/>
              <a:gdLst>
                <a:gd name="T0" fmla="*/ 48 w 78"/>
                <a:gd name="T1" fmla="*/ 8 h 150"/>
                <a:gd name="T2" fmla="*/ 17 w 78"/>
                <a:gd name="T3" fmla="*/ 70 h 150"/>
                <a:gd name="T4" fmla="*/ 78 w 78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150">
                  <a:moveTo>
                    <a:pt x="48" y="8"/>
                  </a:moveTo>
                  <a:cubicBezTo>
                    <a:pt x="48" y="8"/>
                    <a:pt x="0" y="0"/>
                    <a:pt x="17" y="70"/>
                  </a:cubicBezTo>
                  <a:cubicBezTo>
                    <a:pt x="35" y="140"/>
                    <a:pt x="78" y="150"/>
                    <a:pt x="78" y="15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9"/>
            <p:cNvSpPr>
              <a:spLocks/>
            </p:cNvSpPr>
            <p:nvPr/>
          </p:nvSpPr>
          <p:spPr bwMode="auto">
            <a:xfrm>
              <a:off x="7338" y="693"/>
              <a:ext cx="51" cy="60"/>
            </a:xfrm>
            <a:custGeom>
              <a:avLst/>
              <a:gdLst>
                <a:gd name="T0" fmla="*/ 0 w 224"/>
                <a:gd name="T1" fmla="*/ 0 h 263"/>
                <a:gd name="T2" fmla="*/ 82 w 224"/>
                <a:gd name="T3" fmla="*/ 39 h 263"/>
                <a:gd name="T4" fmla="*/ 224 w 224"/>
                <a:gd name="T5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4" h="263">
                  <a:moveTo>
                    <a:pt x="0" y="0"/>
                  </a:moveTo>
                  <a:lnTo>
                    <a:pt x="82" y="39"/>
                  </a:lnTo>
                  <a:cubicBezTo>
                    <a:pt x="197" y="96"/>
                    <a:pt x="220" y="207"/>
                    <a:pt x="224" y="26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10"/>
            <p:cNvSpPr>
              <a:spLocks/>
            </p:cNvSpPr>
            <p:nvPr/>
          </p:nvSpPr>
          <p:spPr bwMode="auto">
            <a:xfrm>
              <a:off x="7185" y="694"/>
              <a:ext cx="54" cy="59"/>
            </a:xfrm>
            <a:custGeom>
              <a:avLst/>
              <a:gdLst>
                <a:gd name="T0" fmla="*/ 239 w 239"/>
                <a:gd name="T1" fmla="*/ 0 h 260"/>
                <a:gd name="T2" fmla="*/ 142 w 239"/>
                <a:gd name="T3" fmla="*/ 36 h 260"/>
                <a:gd name="T4" fmla="*/ 0 w 239"/>
                <a:gd name="T5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9" h="260">
                  <a:moveTo>
                    <a:pt x="239" y="0"/>
                  </a:moveTo>
                  <a:cubicBezTo>
                    <a:pt x="218" y="13"/>
                    <a:pt x="164" y="24"/>
                    <a:pt x="142" y="36"/>
                  </a:cubicBezTo>
                  <a:cubicBezTo>
                    <a:pt x="26" y="93"/>
                    <a:pt x="4" y="204"/>
                    <a:pt x="0" y="26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11"/>
            <p:cNvSpPr>
              <a:spLocks/>
            </p:cNvSpPr>
            <p:nvPr/>
          </p:nvSpPr>
          <p:spPr bwMode="auto">
            <a:xfrm>
              <a:off x="7290" y="678"/>
              <a:ext cx="48" cy="44"/>
            </a:xfrm>
            <a:custGeom>
              <a:avLst/>
              <a:gdLst>
                <a:gd name="T0" fmla="*/ 0 w 215"/>
                <a:gd name="T1" fmla="*/ 99 h 196"/>
                <a:gd name="T2" fmla="*/ 101 w 215"/>
                <a:gd name="T3" fmla="*/ 0 h 196"/>
                <a:gd name="T4" fmla="*/ 215 w 215"/>
                <a:gd name="T5" fmla="*/ 67 h 196"/>
                <a:gd name="T6" fmla="*/ 100 w 215"/>
                <a:gd name="T7" fmla="*/ 184 h 196"/>
                <a:gd name="T8" fmla="*/ 58 w 215"/>
                <a:gd name="T9" fmla="*/ 180 h 196"/>
                <a:gd name="T10" fmla="*/ 0 w 215"/>
                <a:gd name="T11" fmla="*/ 9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96">
                  <a:moveTo>
                    <a:pt x="0" y="99"/>
                  </a:moveTo>
                  <a:cubicBezTo>
                    <a:pt x="0" y="99"/>
                    <a:pt x="82" y="70"/>
                    <a:pt x="101" y="0"/>
                  </a:cubicBezTo>
                  <a:lnTo>
                    <a:pt x="215" y="67"/>
                  </a:lnTo>
                  <a:lnTo>
                    <a:pt x="100" y="184"/>
                  </a:lnTo>
                  <a:cubicBezTo>
                    <a:pt x="88" y="196"/>
                    <a:pt x="68" y="194"/>
                    <a:pt x="58" y="180"/>
                  </a:cubicBezTo>
                  <a:lnTo>
                    <a:pt x="0" y="99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12"/>
            <p:cNvSpPr>
              <a:spLocks/>
            </p:cNvSpPr>
            <p:nvPr/>
          </p:nvSpPr>
          <p:spPr bwMode="auto">
            <a:xfrm>
              <a:off x="7240" y="678"/>
              <a:ext cx="49" cy="44"/>
            </a:xfrm>
            <a:custGeom>
              <a:avLst/>
              <a:gdLst>
                <a:gd name="T0" fmla="*/ 218 w 218"/>
                <a:gd name="T1" fmla="*/ 98 h 196"/>
                <a:gd name="T2" fmla="*/ 114 w 218"/>
                <a:gd name="T3" fmla="*/ 0 h 196"/>
                <a:gd name="T4" fmla="*/ 0 w 218"/>
                <a:gd name="T5" fmla="*/ 67 h 196"/>
                <a:gd name="T6" fmla="*/ 115 w 218"/>
                <a:gd name="T7" fmla="*/ 184 h 196"/>
                <a:gd name="T8" fmla="*/ 157 w 218"/>
                <a:gd name="T9" fmla="*/ 180 h 196"/>
                <a:gd name="T10" fmla="*/ 218 w 218"/>
                <a:gd name="T11" fmla="*/ 9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6">
                  <a:moveTo>
                    <a:pt x="218" y="98"/>
                  </a:moveTo>
                  <a:cubicBezTo>
                    <a:pt x="218" y="98"/>
                    <a:pt x="133" y="70"/>
                    <a:pt x="114" y="0"/>
                  </a:cubicBezTo>
                  <a:lnTo>
                    <a:pt x="0" y="67"/>
                  </a:lnTo>
                  <a:lnTo>
                    <a:pt x="115" y="184"/>
                  </a:lnTo>
                  <a:cubicBezTo>
                    <a:pt x="128" y="196"/>
                    <a:pt x="148" y="194"/>
                    <a:pt x="157" y="180"/>
                  </a:cubicBezTo>
                  <a:lnTo>
                    <a:pt x="218" y="98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13"/>
            <p:cNvSpPr>
              <a:spLocks/>
            </p:cNvSpPr>
            <p:nvPr/>
          </p:nvSpPr>
          <p:spPr bwMode="auto">
            <a:xfrm>
              <a:off x="7306" y="569"/>
              <a:ext cx="29" cy="32"/>
            </a:xfrm>
            <a:custGeom>
              <a:avLst/>
              <a:gdLst>
                <a:gd name="T0" fmla="*/ 0 w 131"/>
                <a:gd name="T1" fmla="*/ 34 h 143"/>
                <a:gd name="T2" fmla="*/ 75 w 131"/>
                <a:gd name="T3" fmla="*/ 0 h 143"/>
                <a:gd name="T4" fmla="*/ 131 w 131"/>
                <a:gd name="T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1" h="143">
                  <a:moveTo>
                    <a:pt x="0" y="34"/>
                  </a:moveTo>
                  <a:cubicBezTo>
                    <a:pt x="26" y="26"/>
                    <a:pt x="51" y="14"/>
                    <a:pt x="75" y="0"/>
                  </a:cubicBezTo>
                  <a:cubicBezTo>
                    <a:pt x="75" y="0"/>
                    <a:pt x="114" y="103"/>
                    <a:pt x="131" y="14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14"/>
            <p:cNvSpPr>
              <a:spLocks/>
            </p:cNvSpPr>
            <p:nvPr/>
          </p:nvSpPr>
          <p:spPr bwMode="auto">
            <a:xfrm>
              <a:off x="7239" y="566"/>
              <a:ext cx="57" cy="36"/>
            </a:xfrm>
            <a:custGeom>
              <a:avLst/>
              <a:gdLst>
                <a:gd name="T0" fmla="*/ 0 w 254"/>
                <a:gd name="T1" fmla="*/ 158 h 158"/>
                <a:gd name="T2" fmla="*/ 58 w 254"/>
                <a:gd name="T3" fmla="*/ 0 h 158"/>
                <a:gd name="T4" fmla="*/ 225 w 254"/>
                <a:gd name="T5" fmla="*/ 58 h 158"/>
                <a:gd name="T6" fmla="*/ 254 w 254"/>
                <a:gd name="T7" fmla="*/ 5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4" h="158">
                  <a:moveTo>
                    <a:pt x="0" y="158"/>
                  </a:moveTo>
                  <a:cubicBezTo>
                    <a:pt x="1" y="156"/>
                    <a:pt x="48" y="56"/>
                    <a:pt x="58" y="0"/>
                  </a:cubicBezTo>
                  <a:cubicBezTo>
                    <a:pt x="58" y="0"/>
                    <a:pt x="152" y="58"/>
                    <a:pt x="225" y="58"/>
                  </a:cubicBezTo>
                  <a:cubicBezTo>
                    <a:pt x="235" y="58"/>
                    <a:pt x="245" y="57"/>
                    <a:pt x="254" y="5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15"/>
            <p:cNvSpPr>
              <a:spLocks/>
            </p:cNvSpPr>
            <p:nvPr/>
          </p:nvSpPr>
          <p:spPr bwMode="auto">
            <a:xfrm>
              <a:off x="7331" y="541"/>
              <a:ext cx="14" cy="62"/>
            </a:xfrm>
            <a:custGeom>
              <a:avLst/>
              <a:gdLst>
                <a:gd name="T0" fmla="*/ 0 w 61"/>
                <a:gd name="T1" fmla="*/ 0 h 276"/>
                <a:gd name="T2" fmla="*/ 50 w 61"/>
                <a:gd name="T3" fmla="*/ 107 h 276"/>
                <a:gd name="T4" fmla="*/ 36 w 61"/>
                <a:gd name="T5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76">
                  <a:moveTo>
                    <a:pt x="0" y="0"/>
                  </a:moveTo>
                  <a:cubicBezTo>
                    <a:pt x="25" y="31"/>
                    <a:pt x="43" y="68"/>
                    <a:pt x="50" y="107"/>
                  </a:cubicBezTo>
                  <a:cubicBezTo>
                    <a:pt x="61" y="184"/>
                    <a:pt x="36" y="276"/>
                    <a:pt x="36" y="27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16"/>
            <p:cNvSpPr>
              <a:spLocks/>
            </p:cNvSpPr>
            <p:nvPr/>
          </p:nvSpPr>
          <p:spPr bwMode="auto">
            <a:xfrm>
              <a:off x="7214" y="516"/>
              <a:ext cx="111" cy="85"/>
            </a:xfrm>
            <a:custGeom>
              <a:avLst/>
              <a:gdLst>
                <a:gd name="T0" fmla="*/ 81 w 494"/>
                <a:gd name="T1" fmla="*/ 377 h 377"/>
                <a:gd name="T2" fmla="*/ 147 w 494"/>
                <a:gd name="T3" fmla="*/ 101 h 377"/>
                <a:gd name="T4" fmla="*/ 370 w 494"/>
                <a:gd name="T5" fmla="*/ 19 h 377"/>
                <a:gd name="T6" fmla="*/ 494 w 494"/>
                <a:gd name="T7" fmla="*/ 83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4" h="377">
                  <a:moveTo>
                    <a:pt x="81" y="377"/>
                  </a:moveTo>
                  <a:cubicBezTo>
                    <a:pt x="81" y="377"/>
                    <a:pt x="0" y="133"/>
                    <a:pt x="147" y="101"/>
                  </a:cubicBezTo>
                  <a:cubicBezTo>
                    <a:pt x="199" y="32"/>
                    <a:pt x="286" y="0"/>
                    <a:pt x="370" y="19"/>
                  </a:cubicBezTo>
                  <a:cubicBezTo>
                    <a:pt x="417" y="29"/>
                    <a:pt x="460" y="51"/>
                    <a:pt x="494" y="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Line 17"/>
            <p:cNvSpPr>
              <a:spLocks noChangeShapeType="1"/>
            </p:cNvSpPr>
            <p:nvPr/>
          </p:nvSpPr>
          <p:spPr bwMode="auto">
            <a:xfrm>
              <a:off x="7265" y="669"/>
              <a:ext cx="0" cy="1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Line 18"/>
            <p:cNvSpPr>
              <a:spLocks noChangeShapeType="1"/>
            </p:cNvSpPr>
            <p:nvPr/>
          </p:nvSpPr>
          <p:spPr bwMode="auto">
            <a:xfrm>
              <a:off x="7312" y="669"/>
              <a:ext cx="0" cy="10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19"/>
            <p:cNvSpPr>
              <a:spLocks/>
            </p:cNvSpPr>
            <p:nvPr/>
          </p:nvSpPr>
          <p:spPr bwMode="auto">
            <a:xfrm>
              <a:off x="7275" y="719"/>
              <a:ext cx="28" cy="12"/>
            </a:xfrm>
            <a:custGeom>
              <a:avLst/>
              <a:gdLst>
                <a:gd name="T0" fmla="*/ 0 w 122"/>
                <a:gd name="T1" fmla="*/ 0 h 55"/>
                <a:gd name="T2" fmla="*/ 45 w 122"/>
                <a:gd name="T3" fmla="*/ 46 h 55"/>
                <a:gd name="T4" fmla="*/ 78 w 122"/>
                <a:gd name="T5" fmla="*/ 46 h 55"/>
                <a:gd name="T6" fmla="*/ 122 w 122"/>
                <a:gd name="T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55">
                  <a:moveTo>
                    <a:pt x="0" y="0"/>
                  </a:moveTo>
                  <a:lnTo>
                    <a:pt x="45" y="46"/>
                  </a:lnTo>
                  <a:cubicBezTo>
                    <a:pt x="54" y="55"/>
                    <a:pt x="69" y="55"/>
                    <a:pt x="78" y="46"/>
                  </a:cubicBezTo>
                  <a:lnTo>
                    <a:pt x="122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Line 20"/>
            <p:cNvSpPr>
              <a:spLocks noChangeShapeType="1"/>
            </p:cNvSpPr>
            <p:nvPr/>
          </p:nvSpPr>
          <p:spPr bwMode="auto">
            <a:xfrm flipH="1">
              <a:off x="7276" y="730"/>
              <a:ext cx="11" cy="5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Line 21"/>
            <p:cNvSpPr>
              <a:spLocks noChangeShapeType="1"/>
            </p:cNvSpPr>
            <p:nvPr/>
          </p:nvSpPr>
          <p:spPr bwMode="auto">
            <a:xfrm flipH="1" flipV="1">
              <a:off x="7292" y="730"/>
              <a:ext cx="11" cy="5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Line 22"/>
            <p:cNvSpPr>
              <a:spLocks noChangeShapeType="1"/>
            </p:cNvSpPr>
            <p:nvPr/>
          </p:nvSpPr>
          <p:spPr bwMode="auto">
            <a:xfrm flipH="1" flipV="1">
              <a:off x="7195" y="663"/>
              <a:ext cx="1" cy="1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Line 23"/>
            <p:cNvSpPr>
              <a:spLocks noChangeShapeType="1"/>
            </p:cNvSpPr>
            <p:nvPr/>
          </p:nvSpPr>
          <p:spPr bwMode="auto">
            <a:xfrm flipH="1">
              <a:off x="7177" y="663"/>
              <a:ext cx="0" cy="16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24"/>
            <p:cNvSpPr>
              <a:spLocks/>
            </p:cNvSpPr>
            <p:nvPr/>
          </p:nvSpPr>
          <p:spPr bwMode="auto">
            <a:xfrm>
              <a:off x="7157" y="632"/>
              <a:ext cx="9" cy="17"/>
            </a:xfrm>
            <a:custGeom>
              <a:avLst/>
              <a:gdLst>
                <a:gd name="T0" fmla="*/ 40 w 40"/>
                <a:gd name="T1" fmla="*/ 64 h 76"/>
                <a:gd name="T2" fmla="*/ 7 w 40"/>
                <a:gd name="T3" fmla="*/ 32 h 76"/>
                <a:gd name="T4" fmla="*/ 22 w 40"/>
                <a:gd name="T5" fmla="*/ 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76">
                  <a:moveTo>
                    <a:pt x="40" y="64"/>
                  </a:moveTo>
                  <a:cubicBezTo>
                    <a:pt x="40" y="64"/>
                    <a:pt x="16" y="76"/>
                    <a:pt x="7" y="32"/>
                  </a:cubicBezTo>
                  <a:cubicBezTo>
                    <a:pt x="0" y="0"/>
                    <a:pt x="22" y="4"/>
                    <a:pt x="22" y="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25"/>
            <p:cNvSpPr>
              <a:spLocks/>
            </p:cNvSpPr>
            <p:nvPr/>
          </p:nvSpPr>
          <p:spPr bwMode="auto">
            <a:xfrm>
              <a:off x="7207" y="632"/>
              <a:ext cx="9" cy="18"/>
            </a:xfrm>
            <a:custGeom>
              <a:avLst/>
              <a:gdLst>
                <a:gd name="T0" fmla="*/ 0 w 40"/>
                <a:gd name="T1" fmla="*/ 65 h 77"/>
                <a:gd name="T2" fmla="*/ 32 w 40"/>
                <a:gd name="T3" fmla="*/ 32 h 77"/>
                <a:gd name="T4" fmla="*/ 17 w 40"/>
                <a:gd name="T5" fmla="*/ 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77">
                  <a:moveTo>
                    <a:pt x="0" y="65"/>
                  </a:moveTo>
                  <a:cubicBezTo>
                    <a:pt x="0" y="65"/>
                    <a:pt x="22" y="77"/>
                    <a:pt x="32" y="32"/>
                  </a:cubicBezTo>
                  <a:cubicBezTo>
                    <a:pt x="40" y="0"/>
                    <a:pt x="17" y="4"/>
                    <a:pt x="17" y="4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6"/>
            <p:cNvSpPr>
              <a:spLocks/>
            </p:cNvSpPr>
            <p:nvPr/>
          </p:nvSpPr>
          <p:spPr bwMode="auto">
            <a:xfrm>
              <a:off x="7196" y="670"/>
              <a:ext cx="36" cy="23"/>
            </a:xfrm>
            <a:custGeom>
              <a:avLst/>
              <a:gdLst>
                <a:gd name="T0" fmla="*/ 0 w 163"/>
                <a:gd name="T1" fmla="*/ 0 h 102"/>
                <a:gd name="T2" fmla="*/ 97 w 163"/>
                <a:gd name="T3" fmla="*/ 42 h 102"/>
                <a:gd name="T4" fmla="*/ 156 w 163"/>
                <a:gd name="T5" fmla="*/ 85 h 102"/>
                <a:gd name="T6" fmla="*/ 163 w 163"/>
                <a:gd name="T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102">
                  <a:moveTo>
                    <a:pt x="0" y="0"/>
                  </a:moveTo>
                  <a:cubicBezTo>
                    <a:pt x="0" y="0"/>
                    <a:pt x="22" y="22"/>
                    <a:pt x="97" y="42"/>
                  </a:cubicBezTo>
                  <a:cubicBezTo>
                    <a:pt x="122" y="47"/>
                    <a:pt x="144" y="63"/>
                    <a:pt x="156" y="85"/>
                  </a:cubicBezTo>
                  <a:cubicBezTo>
                    <a:pt x="159" y="90"/>
                    <a:pt x="161" y="96"/>
                    <a:pt x="163" y="10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27"/>
            <p:cNvSpPr>
              <a:spLocks/>
            </p:cNvSpPr>
            <p:nvPr/>
          </p:nvSpPr>
          <p:spPr bwMode="auto">
            <a:xfrm>
              <a:off x="7146" y="670"/>
              <a:ext cx="31" cy="14"/>
            </a:xfrm>
            <a:custGeom>
              <a:avLst/>
              <a:gdLst>
                <a:gd name="T0" fmla="*/ 137 w 137"/>
                <a:gd name="T1" fmla="*/ 0 h 61"/>
                <a:gd name="T2" fmla="*/ 40 w 137"/>
                <a:gd name="T3" fmla="*/ 42 h 61"/>
                <a:gd name="T4" fmla="*/ 0 w 137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61">
                  <a:moveTo>
                    <a:pt x="137" y="0"/>
                  </a:moveTo>
                  <a:cubicBezTo>
                    <a:pt x="137" y="0"/>
                    <a:pt x="115" y="22"/>
                    <a:pt x="40" y="42"/>
                  </a:cubicBezTo>
                  <a:cubicBezTo>
                    <a:pt x="25" y="45"/>
                    <a:pt x="12" y="52"/>
                    <a:pt x="0" y="6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28"/>
            <p:cNvSpPr>
              <a:spLocks/>
            </p:cNvSpPr>
            <p:nvPr/>
          </p:nvSpPr>
          <p:spPr bwMode="auto">
            <a:xfrm>
              <a:off x="7162" y="631"/>
              <a:ext cx="49" cy="35"/>
            </a:xfrm>
            <a:custGeom>
              <a:avLst/>
              <a:gdLst>
                <a:gd name="T0" fmla="*/ 216 w 216"/>
                <a:gd name="T1" fmla="*/ 0 h 153"/>
                <a:gd name="T2" fmla="*/ 216 w 216"/>
                <a:gd name="T3" fmla="*/ 0 h 153"/>
                <a:gd name="T4" fmla="*/ 170 w 216"/>
                <a:gd name="T5" fmla="*/ 117 h 153"/>
                <a:gd name="T6" fmla="*/ 134 w 216"/>
                <a:gd name="T7" fmla="*/ 145 h 153"/>
                <a:gd name="T8" fmla="*/ 82 w 216"/>
                <a:gd name="T9" fmla="*/ 145 h 153"/>
                <a:gd name="T10" fmla="*/ 41 w 216"/>
                <a:gd name="T11" fmla="*/ 112 h 153"/>
                <a:gd name="T12" fmla="*/ 0 w 216"/>
                <a:gd name="T13" fmla="*/ 0 h 153"/>
                <a:gd name="T14" fmla="*/ 0 w 216"/>
                <a:gd name="T1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53">
                  <a:moveTo>
                    <a:pt x="216" y="0"/>
                  </a:moveTo>
                  <a:lnTo>
                    <a:pt x="216" y="0"/>
                  </a:lnTo>
                  <a:cubicBezTo>
                    <a:pt x="214" y="35"/>
                    <a:pt x="183" y="100"/>
                    <a:pt x="170" y="117"/>
                  </a:cubicBezTo>
                  <a:cubicBezTo>
                    <a:pt x="160" y="129"/>
                    <a:pt x="148" y="138"/>
                    <a:pt x="134" y="145"/>
                  </a:cubicBezTo>
                  <a:cubicBezTo>
                    <a:pt x="118" y="153"/>
                    <a:pt x="98" y="153"/>
                    <a:pt x="82" y="145"/>
                  </a:cubicBezTo>
                  <a:cubicBezTo>
                    <a:pt x="66" y="137"/>
                    <a:pt x="52" y="125"/>
                    <a:pt x="41" y="112"/>
                  </a:cubicBezTo>
                  <a:cubicBezTo>
                    <a:pt x="19" y="78"/>
                    <a:pt x="5" y="40"/>
                    <a:pt x="0" y="0"/>
                  </a:cubicBezTo>
                  <a:lnTo>
                    <a:pt x="0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29"/>
            <p:cNvSpPr>
              <a:spLocks/>
            </p:cNvSpPr>
            <p:nvPr/>
          </p:nvSpPr>
          <p:spPr bwMode="auto">
            <a:xfrm>
              <a:off x="7206" y="623"/>
              <a:ext cx="5" cy="8"/>
            </a:xfrm>
            <a:custGeom>
              <a:avLst/>
              <a:gdLst>
                <a:gd name="T0" fmla="*/ 0 w 23"/>
                <a:gd name="T1" fmla="*/ 0 h 36"/>
                <a:gd name="T2" fmla="*/ 23 w 23"/>
                <a:gd name="T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36">
                  <a:moveTo>
                    <a:pt x="0" y="0"/>
                  </a:moveTo>
                  <a:cubicBezTo>
                    <a:pt x="6" y="13"/>
                    <a:pt x="13" y="25"/>
                    <a:pt x="23" y="36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30"/>
            <p:cNvSpPr>
              <a:spLocks/>
            </p:cNvSpPr>
            <p:nvPr/>
          </p:nvSpPr>
          <p:spPr bwMode="auto">
            <a:xfrm>
              <a:off x="7162" y="612"/>
              <a:ext cx="42" cy="23"/>
            </a:xfrm>
            <a:custGeom>
              <a:avLst/>
              <a:gdLst>
                <a:gd name="T0" fmla="*/ 0 w 185"/>
                <a:gd name="T1" fmla="*/ 87 h 102"/>
                <a:gd name="T2" fmla="*/ 15 w 185"/>
                <a:gd name="T3" fmla="*/ 82 h 102"/>
                <a:gd name="T4" fmla="*/ 32 w 185"/>
                <a:gd name="T5" fmla="*/ 77 h 102"/>
                <a:gd name="T6" fmla="*/ 42 w 185"/>
                <a:gd name="T7" fmla="*/ 102 h 102"/>
                <a:gd name="T8" fmla="*/ 67 w 185"/>
                <a:gd name="T9" fmla="*/ 42 h 102"/>
                <a:gd name="T10" fmla="*/ 83 w 185"/>
                <a:gd name="T11" fmla="*/ 67 h 102"/>
                <a:gd name="T12" fmla="*/ 114 w 185"/>
                <a:gd name="T13" fmla="*/ 23 h 102"/>
                <a:gd name="T14" fmla="*/ 127 w 185"/>
                <a:gd name="T15" fmla="*/ 44 h 102"/>
                <a:gd name="T16" fmla="*/ 173 w 185"/>
                <a:gd name="T17" fmla="*/ 0 h 102"/>
                <a:gd name="T18" fmla="*/ 185 w 185"/>
                <a:gd name="T19" fmla="*/ 3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02">
                  <a:moveTo>
                    <a:pt x="0" y="87"/>
                  </a:moveTo>
                  <a:cubicBezTo>
                    <a:pt x="5" y="85"/>
                    <a:pt x="10" y="84"/>
                    <a:pt x="15" y="82"/>
                  </a:cubicBezTo>
                  <a:cubicBezTo>
                    <a:pt x="23" y="79"/>
                    <a:pt x="27" y="65"/>
                    <a:pt x="32" y="77"/>
                  </a:cubicBezTo>
                  <a:cubicBezTo>
                    <a:pt x="37" y="88"/>
                    <a:pt x="42" y="102"/>
                    <a:pt x="42" y="102"/>
                  </a:cubicBezTo>
                  <a:cubicBezTo>
                    <a:pt x="40" y="79"/>
                    <a:pt x="49" y="57"/>
                    <a:pt x="67" y="42"/>
                  </a:cubicBezTo>
                  <a:cubicBezTo>
                    <a:pt x="67" y="42"/>
                    <a:pt x="76" y="67"/>
                    <a:pt x="83" y="67"/>
                  </a:cubicBezTo>
                  <a:cubicBezTo>
                    <a:pt x="83" y="67"/>
                    <a:pt x="100" y="32"/>
                    <a:pt x="114" y="23"/>
                  </a:cubicBezTo>
                  <a:cubicBezTo>
                    <a:pt x="129" y="14"/>
                    <a:pt x="117" y="40"/>
                    <a:pt x="127" y="44"/>
                  </a:cubicBezTo>
                  <a:cubicBezTo>
                    <a:pt x="127" y="44"/>
                    <a:pt x="133" y="17"/>
                    <a:pt x="173" y="0"/>
                  </a:cubicBezTo>
                  <a:cubicBezTo>
                    <a:pt x="173" y="0"/>
                    <a:pt x="178" y="15"/>
                    <a:pt x="185" y="3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31"/>
            <p:cNvSpPr>
              <a:spLocks/>
            </p:cNvSpPr>
            <p:nvPr/>
          </p:nvSpPr>
          <p:spPr bwMode="auto">
            <a:xfrm>
              <a:off x="7211" y="615"/>
              <a:ext cx="10" cy="62"/>
            </a:xfrm>
            <a:custGeom>
              <a:avLst/>
              <a:gdLst>
                <a:gd name="T0" fmla="*/ 11 w 45"/>
                <a:gd name="T1" fmla="*/ 0 h 279"/>
                <a:gd name="T2" fmla="*/ 0 w 45"/>
                <a:gd name="T3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279">
                  <a:moveTo>
                    <a:pt x="11" y="0"/>
                  </a:moveTo>
                  <a:cubicBezTo>
                    <a:pt x="45" y="95"/>
                    <a:pt x="0" y="279"/>
                    <a:pt x="0" y="279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Freeform 32"/>
            <p:cNvSpPr>
              <a:spLocks/>
            </p:cNvSpPr>
            <p:nvPr/>
          </p:nvSpPr>
          <p:spPr bwMode="auto">
            <a:xfrm>
              <a:off x="7153" y="586"/>
              <a:ext cx="59" cy="90"/>
            </a:xfrm>
            <a:custGeom>
              <a:avLst/>
              <a:gdLst>
                <a:gd name="T0" fmla="*/ 44 w 261"/>
                <a:gd name="T1" fmla="*/ 399 h 399"/>
                <a:gd name="T2" fmla="*/ 22 w 261"/>
                <a:gd name="T3" fmla="*/ 137 h 399"/>
                <a:gd name="T4" fmla="*/ 256 w 261"/>
                <a:gd name="T5" fmla="*/ 101 h 399"/>
                <a:gd name="T6" fmla="*/ 261 w 261"/>
                <a:gd name="T7" fmla="*/ 1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399">
                  <a:moveTo>
                    <a:pt x="44" y="399"/>
                  </a:moveTo>
                  <a:cubicBezTo>
                    <a:pt x="44" y="399"/>
                    <a:pt x="0" y="253"/>
                    <a:pt x="22" y="137"/>
                  </a:cubicBezTo>
                  <a:cubicBezTo>
                    <a:pt x="42" y="30"/>
                    <a:pt x="196" y="0"/>
                    <a:pt x="256" y="101"/>
                  </a:cubicBezTo>
                  <a:cubicBezTo>
                    <a:pt x="258" y="104"/>
                    <a:pt x="260" y="108"/>
                    <a:pt x="261" y="11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33"/>
            <p:cNvSpPr>
              <a:spLocks/>
            </p:cNvSpPr>
            <p:nvPr/>
          </p:nvSpPr>
          <p:spPr bwMode="auto">
            <a:xfrm>
              <a:off x="7153" y="680"/>
              <a:ext cx="69" cy="16"/>
            </a:xfrm>
            <a:custGeom>
              <a:avLst/>
              <a:gdLst>
                <a:gd name="T0" fmla="*/ 0 w 307"/>
                <a:gd name="T1" fmla="*/ 0 h 70"/>
                <a:gd name="T2" fmla="*/ 143 w 307"/>
                <a:gd name="T3" fmla="*/ 70 h 70"/>
                <a:gd name="T4" fmla="*/ 307 w 307"/>
                <a:gd name="T5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7" h="70">
                  <a:moveTo>
                    <a:pt x="0" y="0"/>
                  </a:moveTo>
                  <a:cubicBezTo>
                    <a:pt x="0" y="0"/>
                    <a:pt x="4" y="70"/>
                    <a:pt x="143" y="70"/>
                  </a:cubicBezTo>
                  <a:cubicBezTo>
                    <a:pt x="283" y="70"/>
                    <a:pt x="307" y="5"/>
                    <a:pt x="307" y="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34"/>
            <p:cNvSpPr>
              <a:spLocks/>
            </p:cNvSpPr>
            <p:nvPr/>
          </p:nvSpPr>
          <p:spPr bwMode="auto">
            <a:xfrm>
              <a:off x="7324" y="744"/>
              <a:ext cx="28" cy="17"/>
            </a:xfrm>
            <a:custGeom>
              <a:avLst/>
              <a:gdLst>
                <a:gd name="T0" fmla="*/ 124 w 124"/>
                <a:gd name="T1" fmla="*/ 75 h 75"/>
                <a:gd name="T2" fmla="*/ 0 w 124"/>
                <a:gd name="T3" fmla="*/ 75 h 75"/>
                <a:gd name="T4" fmla="*/ 0 w 124"/>
                <a:gd name="T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4" h="75">
                  <a:moveTo>
                    <a:pt x="124" y="75"/>
                  </a:moveTo>
                  <a:lnTo>
                    <a:pt x="0" y="75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35"/>
            <p:cNvSpPr>
              <a:spLocks/>
            </p:cNvSpPr>
            <p:nvPr/>
          </p:nvSpPr>
          <p:spPr bwMode="auto">
            <a:xfrm>
              <a:off x="7361" y="595"/>
              <a:ext cx="61" cy="68"/>
            </a:xfrm>
            <a:custGeom>
              <a:avLst/>
              <a:gdLst>
                <a:gd name="T0" fmla="*/ 268 w 268"/>
                <a:gd name="T1" fmla="*/ 89 h 301"/>
                <a:gd name="T2" fmla="*/ 264 w 268"/>
                <a:gd name="T3" fmla="*/ 121 h 301"/>
                <a:gd name="T4" fmla="*/ 235 w 268"/>
                <a:gd name="T5" fmla="*/ 234 h 301"/>
                <a:gd name="T6" fmla="*/ 212 w 268"/>
                <a:gd name="T7" fmla="*/ 263 h 301"/>
                <a:gd name="T8" fmla="*/ 67 w 268"/>
                <a:gd name="T9" fmla="*/ 262 h 301"/>
                <a:gd name="T10" fmla="*/ 39 w 268"/>
                <a:gd name="T11" fmla="*/ 229 h 301"/>
                <a:gd name="T12" fmla="*/ 9 w 268"/>
                <a:gd name="T13" fmla="*/ 128 h 301"/>
                <a:gd name="T14" fmla="*/ 5 w 268"/>
                <a:gd name="T15" fmla="*/ 88 h 301"/>
                <a:gd name="T16" fmla="*/ 12 w 268"/>
                <a:gd name="T1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301">
                  <a:moveTo>
                    <a:pt x="268" y="89"/>
                  </a:moveTo>
                  <a:cubicBezTo>
                    <a:pt x="268" y="91"/>
                    <a:pt x="264" y="119"/>
                    <a:pt x="264" y="121"/>
                  </a:cubicBezTo>
                  <a:cubicBezTo>
                    <a:pt x="263" y="160"/>
                    <a:pt x="253" y="199"/>
                    <a:pt x="235" y="234"/>
                  </a:cubicBezTo>
                  <a:cubicBezTo>
                    <a:pt x="229" y="245"/>
                    <a:pt x="221" y="255"/>
                    <a:pt x="212" y="263"/>
                  </a:cubicBezTo>
                  <a:cubicBezTo>
                    <a:pt x="171" y="301"/>
                    <a:pt x="108" y="300"/>
                    <a:pt x="67" y="262"/>
                  </a:cubicBezTo>
                  <a:cubicBezTo>
                    <a:pt x="56" y="252"/>
                    <a:pt x="47" y="241"/>
                    <a:pt x="39" y="229"/>
                  </a:cubicBezTo>
                  <a:cubicBezTo>
                    <a:pt x="21" y="198"/>
                    <a:pt x="11" y="163"/>
                    <a:pt x="9" y="128"/>
                  </a:cubicBezTo>
                  <a:cubicBezTo>
                    <a:pt x="9" y="125"/>
                    <a:pt x="5" y="90"/>
                    <a:pt x="5" y="88"/>
                  </a:cubicBezTo>
                  <a:cubicBezTo>
                    <a:pt x="0" y="58"/>
                    <a:pt x="3" y="28"/>
                    <a:pt x="12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36"/>
            <p:cNvSpPr>
              <a:spLocks/>
            </p:cNvSpPr>
            <p:nvPr/>
          </p:nvSpPr>
          <p:spPr bwMode="auto">
            <a:xfrm>
              <a:off x="7419" y="615"/>
              <a:ext cx="10" cy="21"/>
            </a:xfrm>
            <a:custGeom>
              <a:avLst/>
              <a:gdLst>
                <a:gd name="T0" fmla="*/ 15 w 44"/>
                <a:gd name="T1" fmla="*/ 4 h 91"/>
                <a:gd name="T2" fmla="*/ 33 w 44"/>
                <a:gd name="T3" fmla="*/ 43 h 91"/>
                <a:gd name="T4" fmla="*/ 0 w 44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91">
                  <a:moveTo>
                    <a:pt x="15" y="4"/>
                  </a:moveTo>
                  <a:cubicBezTo>
                    <a:pt x="15" y="4"/>
                    <a:pt x="44" y="0"/>
                    <a:pt x="33" y="43"/>
                  </a:cubicBezTo>
                  <a:cubicBezTo>
                    <a:pt x="22" y="86"/>
                    <a:pt x="0" y="91"/>
                    <a:pt x="0" y="9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37"/>
            <p:cNvSpPr>
              <a:spLocks/>
            </p:cNvSpPr>
            <p:nvPr/>
          </p:nvSpPr>
          <p:spPr bwMode="auto">
            <a:xfrm>
              <a:off x="7354" y="615"/>
              <a:ext cx="11" cy="21"/>
            </a:xfrm>
            <a:custGeom>
              <a:avLst/>
              <a:gdLst>
                <a:gd name="T0" fmla="*/ 29 w 47"/>
                <a:gd name="T1" fmla="*/ 5 h 92"/>
                <a:gd name="T2" fmla="*/ 10 w 47"/>
                <a:gd name="T3" fmla="*/ 43 h 92"/>
                <a:gd name="T4" fmla="*/ 47 w 47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92">
                  <a:moveTo>
                    <a:pt x="29" y="5"/>
                  </a:moveTo>
                  <a:cubicBezTo>
                    <a:pt x="29" y="5"/>
                    <a:pt x="0" y="0"/>
                    <a:pt x="10" y="43"/>
                  </a:cubicBezTo>
                  <a:cubicBezTo>
                    <a:pt x="21" y="87"/>
                    <a:pt x="47" y="92"/>
                    <a:pt x="47" y="92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38"/>
            <p:cNvSpPr>
              <a:spLocks/>
            </p:cNvSpPr>
            <p:nvPr/>
          </p:nvSpPr>
          <p:spPr bwMode="auto">
            <a:xfrm>
              <a:off x="7392" y="663"/>
              <a:ext cx="30" cy="28"/>
            </a:xfrm>
            <a:custGeom>
              <a:avLst/>
              <a:gdLst>
                <a:gd name="T0" fmla="*/ 0 w 133"/>
                <a:gd name="T1" fmla="*/ 61 h 122"/>
                <a:gd name="T2" fmla="*/ 62 w 133"/>
                <a:gd name="T3" fmla="*/ 0 h 122"/>
                <a:gd name="T4" fmla="*/ 133 w 133"/>
                <a:gd name="T5" fmla="*/ 42 h 122"/>
                <a:gd name="T6" fmla="*/ 61 w 133"/>
                <a:gd name="T7" fmla="*/ 114 h 122"/>
                <a:gd name="T8" fmla="*/ 35 w 133"/>
                <a:gd name="T9" fmla="*/ 111 h 122"/>
                <a:gd name="T10" fmla="*/ 0 w 133"/>
                <a:gd name="T11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22">
                  <a:moveTo>
                    <a:pt x="0" y="61"/>
                  </a:moveTo>
                  <a:cubicBezTo>
                    <a:pt x="0" y="61"/>
                    <a:pt x="51" y="43"/>
                    <a:pt x="62" y="0"/>
                  </a:cubicBezTo>
                  <a:lnTo>
                    <a:pt x="133" y="42"/>
                  </a:lnTo>
                  <a:lnTo>
                    <a:pt x="61" y="114"/>
                  </a:lnTo>
                  <a:cubicBezTo>
                    <a:pt x="53" y="122"/>
                    <a:pt x="41" y="120"/>
                    <a:pt x="35" y="111"/>
                  </a:cubicBezTo>
                  <a:lnTo>
                    <a:pt x="0" y="61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39"/>
            <p:cNvSpPr>
              <a:spLocks/>
            </p:cNvSpPr>
            <p:nvPr/>
          </p:nvSpPr>
          <p:spPr bwMode="auto">
            <a:xfrm>
              <a:off x="7361" y="663"/>
              <a:ext cx="31" cy="28"/>
            </a:xfrm>
            <a:custGeom>
              <a:avLst/>
              <a:gdLst>
                <a:gd name="T0" fmla="*/ 136 w 136"/>
                <a:gd name="T1" fmla="*/ 61 h 121"/>
                <a:gd name="T2" fmla="*/ 71 w 136"/>
                <a:gd name="T3" fmla="*/ 0 h 121"/>
                <a:gd name="T4" fmla="*/ 0 w 136"/>
                <a:gd name="T5" fmla="*/ 41 h 121"/>
                <a:gd name="T6" fmla="*/ 71 w 136"/>
                <a:gd name="T7" fmla="*/ 114 h 121"/>
                <a:gd name="T8" fmla="*/ 97 w 136"/>
                <a:gd name="T9" fmla="*/ 111 h 121"/>
                <a:gd name="T10" fmla="*/ 136 w 136"/>
                <a:gd name="T11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121">
                  <a:moveTo>
                    <a:pt x="136" y="61"/>
                  </a:moveTo>
                  <a:cubicBezTo>
                    <a:pt x="136" y="61"/>
                    <a:pt x="83" y="43"/>
                    <a:pt x="71" y="0"/>
                  </a:cubicBezTo>
                  <a:lnTo>
                    <a:pt x="0" y="41"/>
                  </a:lnTo>
                  <a:lnTo>
                    <a:pt x="71" y="114"/>
                  </a:lnTo>
                  <a:cubicBezTo>
                    <a:pt x="79" y="121"/>
                    <a:pt x="91" y="120"/>
                    <a:pt x="97" y="111"/>
                  </a:cubicBezTo>
                  <a:lnTo>
                    <a:pt x="136" y="61"/>
                  </a:lnTo>
                  <a:close/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Freeform 40"/>
            <p:cNvSpPr>
              <a:spLocks/>
            </p:cNvSpPr>
            <p:nvPr/>
          </p:nvSpPr>
          <p:spPr bwMode="auto">
            <a:xfrm>
              <a:off x="7404" y="658"/>
              <a:ext cx="26" cy="19"/>
            </a:xfrm>
            <a:custGeom>
              <a:avLst/>
              <a:gdLst>
                <a:gd name="T0" fmla="*/ 0 w 116"/>
                <a:gd name="T1" fmla="*/ 0 h 83"/>
                <a:gd name="T2" fmla="*/ 15 w 116"/>
                <a:gd name="T3" fmla="*/ 24 h 83"/>
                <a:gd name="T4" fmla="*/ 116 w 116"/>
                <a:gd name="T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" h="83">
                  <a:moveTo>
                    <a:pt x="0" y="0"/>
                  </a:moveTo>
                  <a:cubicBezTo>
                    <a:pt x="4" y="9"/>
                    <a:pt x="9" y="17"/>
                    <a:pt x="15" y="24"/>
                  </a:cubicBezTo>
                  <a:cubicBezTo>
                    <a:pt x="47" y="45"/>
                    <a:pt x="81" y="65"/>
                    <a:pt x="116" y="83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41"/>
            <p:cNvSpPr>
              <a:spLocks/>
            </p:cNvSpPr>
            <p:nvPr/>
          </p:nvSpPr>
          <p:spPr bwMode="auto">
            <a:xfrm>
              <a:off x="7340" y="657"/>
              <a:ext cx="40" cy="32"/>
            </a:xfrm>
            <a:custGeom>
              <a:avLst/>
              <a:gdLst>
                <a:gd name="T0" fmla="*/ 177 w 177"/>
                <a:gd name="T1" fmla="*/ 0 h 141"/>
                <a:gd name="T2" fmla="*/ 166 w 177"/>
                <a:gd name="T3" fmla="*/ 27 h 141"/>
                <a:gd name="T4" fmla="*/ 61 w 177"/>
                <a:gd name="T5" fmla="*/ 86 h 141"/>
                <a:gd name="T6" fmla="*/ 0 w 177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7" h="141">
                  <a:moveTo>
                    <a:pt x="177" y="0"/>
                  </a:moveTo>
                  <a:cubicBezTo>
                    <a:pt x="177" y="0"/>
                    <a:pt x="173" y="23"/>
                    <a:pt x="166" y="27"/>
                  </a:cubicBezTo>
                  <a:cubicBezTo>
                    <a:pt x="147" y="39"/>
                    <a:pt x="105" y="64"/>
                    <a:pt x="61" y="86"/>
                  </a:cubicBezTo>
                  <a:cubicBezTo>
                    <a:pt x="36" y="98"/>
                    <a:pt x="15" y="117"/>
                    <a:pt x="0" y="141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42"/>
            <p:cNvSpPr>
              <a:spLocks/>
            </p:cNvSpPr>
            <p:nvPr/>
          </p:nvSpPr>
          <p:spPr bwMode="auto">
            <a:xfrm>
              <a:off x="7362" y="577"/>
              <a:ext cx="51" cy="31"/>
            </a:xfrm>
            <a:custGeom>
              <a:avLst/>
              <a:gdLst>
                <a:gd name="T0" fmla="*/ 177 w 227"/>
                <a:gd name="T1" fmla="*/ 133 h 137"/>
                <a:gd name="T2" fmla="*/ 220 w 227"/>
                <a:gd name="T3" fmla="*/ 110 h 137"/>
                <a:gd name="T4" fmla="*/ 188 w 227"/>
                <a:gd name="T5" fmla="*/ 38 h 137"/>
                <a:gd name="T6" fmla="*/ 60 w 227"/>
                <a:gd name="T7" fmla="*/ 0 h 137"/>
                <a:gd name="T8" fmla="*/ 81 w 227"/>
                <a:gd name="T9" fmla="*/ 39 h 137"/>
                <a:gd name="T10" fmla="*/ 27 w 227"/>
                <a:gd name="T11" fmla="*/ 29 h 137"/>
                <a:gd name="T12" fmla="*/ 0 w 227"/>
                <a:gd name="T13" fmla="*/ 20 h 137"/>
                <a:gd name="T14" fmla="*/ 63 w 227"/>
                <a:gd name="T15" fmla="*/ 127 h 137"/>
                <a:gd name="T16" fmla="*/ 152 w 227"/>
                <a:gd name="T17" fmla="*/ 13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7" h="137">
                  <a:moveTo>
                    <a:pt x="177" y="133"/>
                  </a:moveTo>
                  <a:cubicBezTo>
                    <a:pt x="200" y="129"/>
                    <a:pt x="217" y="121"/>
                    <a:pt x="220" y="110"/>
                  </a:cubicBezTo>
                  <a:cubicBezTo>
                    <a:pt x="227" y="83"/>
                    <a:pt x="223" y="51"/>
                    <a:pt x="188" y="38"/>
                  </a:cubicBezTo>
                  <a:cubicBezTo>
                    <a:pt x="153" y="25"/>
                    <a:pt x="70" y="12"/>
                    <a:pt x="60" y="0"/>
                  </a:cubicBezTo>
                  <a:cubicBezTo>
                    <a:pt x="60" y="0"/>
                    <a:pt x="61" y="31"/>
                    <a:pt x="81" y="39"/>
                  </a:cubicBezTo>
                  <a:cubicBezTo>
                    <a:pt x="63" y="33"/>
                    <a:pt x="45" y="29"/>
                    <a:pt x="27" y="29"/>
                  </a:cubicBezTo>
                  <a:cubicBezTo>
                    <a:pt x="17" y="30"/>
                    <a:pt x="7" y="27"/>
                    <a:pt x="0" y="20"/>
                  </a:cubicBezTo>
                  <a:cubicBezTo>
                    <a:pt x="0" y="20"/>
                    <a:pt x="2" y="112"/>
                    <a:pt x="63" y="127"/>
                  </a:cubicBezTo>
                  <a:cubicBezTo>
                    <a:pt x="92" y="134"/>
                    <a:pt x="122" y="137"/>
                    <a:pt x="152" y="135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43"/>
            <p:cNvSpPr>
              <a:spLocks/>
            </p:cNvSpPr>
            <p:nvPr/>
          </p:nvSpPr>
          <p:spPr bwMode="auto">
            <a:xfrm>
              <a:off x="7407" y="606"/>
              <a:ext cx="12" cy="20"/>
            </a:xfrm>
            <a:custGeom>
              <a:avLst/>
              <a:gdLst>
                <a:gd name="T0" fmla="*/ 0 w 55"/>
                <a:gd name="T1" fmla="*/ 0 h 90"/>
                <a:gd name="T2" fmla="*/ 55 w 55"/>
                <a:gd name="T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90">
                  <a:moveTo>
                    <a:pt x="0" y="0"/>
                  </a:moveTo>
                  <a:cubicBezTo>
                    <a:pt x="0" y="0"/>
                    <a:pt x="17" y="60"/>
                    <a:pt x="55" y="9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44"/>
            <p:cNvSpPr>
              <a:spLocks/>
            </p:cNvSpPr>
            <p:nvPr/>
          </p:nvSpPr>
          <p:spPr bwMode="auto">
            <a:xfrm>
              <a:off x="7364" y="603"/>
              <a:ext cx="5" cy="21"/>
            </a:xfrm>
            <a:custGeom>
              <a:avLst/>
              <a:gdLst>
                <a:gd name="T0" fmla="*/ 0 w 21"/>
                <a:gd name="T1" fmla="*/ 95 h 95"/>
                <a:gd name="T2" fmla="*/ 21 w 21"/>
                <a:gd name="T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5">
                  <a:moveTo>
                    <a:pt x="0" y="95"/>
                  </a:moveTo>
                  <a:cubicBezTo>
                    <a:pt x="9" y="64"/>
                    <a:pt x="17" y="32"/>
                    <a:pt x="21" y="0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reeform 45"/>
            <p:cNvSpPr>
              <a:spLocks/>
            </p:cNvSpPr>
            <p:nvPr/>
          </p:nvSpPr>
          <p:spPr bwMode="auto">
            <a:xfrm>
              <a:off x="7411" y="591"/>
              <a:ext cx="12" cy="24"/>
            </a:xfrm>
            <a:custGeom>
              <a:avLst/>
              <a:gdLst>
                <a:gd name="T0" fmla="*/ 0 w 51"/>
                <a:gd name="T1" fmla="*/ 0 h 107"/>
                <a:gd name="T2" fmla="*/ 39 w 51"/>
                <a:gd name="T3" fmla="*/ 36 h 107"/>
                <a:gd name="T4" fmla="*/ 47 w 51"/>
                <a:gd name="T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107">
                  <a:moveTo>
                    <a:pt x="0" y="0"/>
                  </a:moveTo>
                  <a:cubicBezTo>
                    <a:pt x="17" y="7"/>
                    <a:pt x="31" y="20"/>
                    <a:pt x="39" y="36"/>
                  </a:cubicBezTo>
                  <a:cubicBezTo>
                    <a:pt x="48" y="58"/>
                    <a:pt x="51" y="83"/>
                    <a:pt x="47" y="107"/>
                  </a:cubicBezTo>
                </a:path>
              </a:pathLst>
            </a:cu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Line 46"/>
            <p:cNvSpPr>
              <a:spLocks noChangeShapeType="1"/>
            </p:cNvSpPr>
            <p:nvPr/>
          </p:nvSpPr>
          <p:spPr bwMode="auto">
            <a:xfrm>
              <a:off x="7394" y="689"/>
              <a:ext cx="0" cy="57"/>
            </a:xfrm>
            <a:prstGeom prst="lin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Oval 47"/>
            <p:cNvSpPr>
              <a:spLocks noChangeArrowheads="1"/>
            </p:cNvSpPr>
            <p:nvPr/>
          </p:nvSpPr>
          <p:spPr bwMode="auto">
            <a:xfrm>
              <a:off x="7388" y="692"/>
              <a:ext cx="3" cy="3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Oval 48"/>
            <p:cNvSpPr>
              <a:spLocks noChangeArrowheads="1"/>
            </p:cNvSpPr>
            <p:nvPr/>
          </p:nvSpPr>
          <p:spPr bwMode="auto">
            <a:xfrm>
              <a:off x="7388" y="700"/>
              <a:ext cx="3" cy="3"/>
            </a:xfrm>
            <a:prstGeom prst="ellipse">
              <a:avLst/>
            </a:prstGeom>
            <a:grpFill/>
            <a:ln w="6350" cap="rnd">
              <a:solidFill>
                <a:srgbClr val="2B3E6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7" name="Oval 5"/>
          <p:cNvSpPr>
            <a:spLocks noChangeArrowheads="1"/>
          </p:cNvSpPr>
          <p:nvPr/>
        </p:nvSpPr>
        <p:spPr bwMode="auto">
          <a:xfrm>
            <a:off x="2020170" y="2183121"/>
            <a:ext cx="1824477" cy="1824477"/>
          </a:xfrm>
          <a:prstGeom prst="ellipse">
            <a:avLst/>
          </a:prstGeom>
          <a:noFill/>
          <a:ln w="6350" cap="rnd">
            <a:solidFill>
              <a:srgbClr val="2B3E6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8" name="Oval 5"/>
          <p:cNvSpPr>
            <a:spLocks noChangeArrowheads="1"/>
          </p:cNvSpPr>
          <p:nvPr/>
        </p:nvSpPr>
        <p:spPr bwMode="auto">
          <a:xfrm>
            <a:off x="4991495" y="2178064"/>
            <a:ext cx="1824477" cy="1824477"/>
          </a:xfrm>
          <a:prstGeom prst="ellipse">
            <a:avLst/>
          </a:prstGeom>
          <a:noFill/>
          <a:ln w="6350" cap="rnd">
            <a:solidFill>
              <a:srgbClr val="2B3E6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9" name="TextBox 288"/>
          <p:cNvSpPr txBox="1"/>
          <p:nvPr/>
        </p:nvSpPr>
        <p:spPr>
          <a:xfrm>
            <a:off x="4735902" y="4150284"/>
            <a:ext cx="24326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s</a:t>
            </a:r>
            <a:r>
              <a:rPr lang="nl-B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Comments</a:t>
            </a:r>
            <a:endParaRPr lang="en-GB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0" name="TextBox 289"/>
          <p:cNvSpPr txBox="1"/>
          <p:nvPr/>
        </p:nvSpPr>
        <p:spPr>
          <a:xfrm>
            <a:off x="8032007" y="4149092"/>
            <a:ext cx="1755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cussion</a:t>
            </a:r>
            <a:endParaRPr lang="en-GB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4043048" y="3090303"/>
            <a:ext cx="720000" cy="50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91" name="Straight Arrow Connector 290"/>
          <p:cNvCxnSpPr/>
          <p:nvPr/>
        </p:nvCxnSpPr>
        <p:spPr>
          <a:xfrm flipV="1">
            <a:off x="7050780" y="3087434"/>
            <a:ext cx="720000" cy="50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Curved Left Arrow 6"/>
          <p:cNvSpPr/>
          <p:nvPr/>
        </p:nvSpPr>
        <p:spPr>
          <a:xfrm rot="5400000">
            <a:off x="5673854" y="1883820"/>
            <a:ext cx="418756" cy="6508645"/>
          </a:xfrm>
          <a:prstGeom prst="curvedLef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292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4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19188" y="3590105"/>
            <a:ext cx="7479689" cy="602194"/>
          </a:xfrm>
        </p:spPr>
        <p:txBody>
          <a:bodyPr/>
          <a:lstStyle/>
          <a:p>
            <a:r>
              <a:rPr lang="nl-BE" sz="3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FAQ Update</a:t>
            </a:r>
            <a:endParaRPr lang="en-GB" sz="3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40968" y="4145772"/>
            <a:ext cx="6059932" cy="235449"/>
          </a:xfrm>
        </p:spPr>
        <p:txBody>
          <a:bodyPr/>
          <a:lstStyle/>
          <a:p>
            <a:r>
              <a:rPr lang="en-GB" sz="1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date on the FAQ</a:t>
            </a:r>
            <a:endParaRPr lang="en-GB" sz="1800" b="1" dirty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1140967" y="5035742"/>
            <a:ext cx="8442648" cy="2354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tion: 15 min</a:t>
            </a:r>
          </a:p>
          <a:p>
            <a:r>
              <a:rPr lang="nl-B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ers: </a:t>
            </a:r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ur BREUILLIN (DG GROW) and </a:t>
            </a:r>
            <a:r>
              <a:rPr lang="nl-B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ers GJOEN (DG CNECT)</a:t>
            </a: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02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439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838201" y="3089065"/>
            <a:ext cx="3341916" cy="309348"/>
          </a:xfrm>
        </p:spPr>
        <p:txBody>
          <a:bodyPr/>
          <a:lstStyle/>
          <a:p>
            <a:pPr lvl="0"/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Q posted on the wiki on 20/03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35"/>
          </p:nvPr>
        </p:nvSpPr>
        <p:spPr>
          <a:xfrm>
            <a:off x="4435091" y="3089065"/>
            <a:ext cx="3341916" cy="309348"/>
          </a:xfrm>
        </p:spPr>
        <p:txBody>
          <a:bodyPr/>
          <a:lstStyle/>
          <a:p>
            <a:pPr lvl="0"/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dresses recurrent questions on the scope of article 14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37"/>
          </p:nvPr>
        </p:nvSpPr>
        <p:spPr>
          <a:xfrm>
            <a:off x="8031981" y="3089065"/>
            <a:ext cx="3341916" cy="309348"/>
          </a:xfrm>
        </p:spPr>
        <p:txBody>
          <a:bodyPr/>
          <a:lstStyle/>
          <a:p>
            <a:pPr lvl="0"/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ving document</a:t>
            </a:r>
          </a:p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9"/>
          </p:nvPr>
        </p:nvSpPr>
        <p:spPr>
          <a:xfrm>
            <a:off x="838200" y="2929508"/>
            <a:ext cx="3341916" cy="67252"/>
          </a:xfrm>
        </p:spPr>
        <p:txBody>
          <a:bodyPr/>
          <a:lstStyle/>
          <a:p>
            <a:endParaRPr lang="en-GB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40"/>
          </p:nvPr>
        </p:nvSpPr>
        <p:spPr>
          <a:xfrm>
            <a:off x="4435091" y="2929508"/>
            <a:ext cx="3341916" cy="67252"/>
          </a:xfrm>
        </p:spPr>
        <p:txBody>
          <a:bodyPr/>
          <a:lstStyle/>
          <a:p>
            <a:endParaRPr lang="en-GB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41"/>
          </p:nvPr>
        </p:nvSpPr>
        <p:spPr>
          <a:xfrm>
            <a:off x="8031981" y="2931094"/>
            <a:ext cx="3341916" cy="67252"/>
          </a:xfrm>
        </p:spPr>
        <p:txBody>
          <a:bodyPr/>
          <a:lstStyle/>
          <a:p>
            <a:endParaRPr lang="en-GB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itle 3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Q Update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6" name="Slide Number Placeholder 4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66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19188" y="3607143"/>
            <a:ext cx="7948279" cy="602194"/>
          </a:xfrm>
        </p:spPr>
        <p:txBody>
          <a:bodyPr/>
          <a:lstStyle/>
          <a:p>
            <a:r>
              <a:rPr lang="en-US" sz="3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. Next steps &amp; ways of working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40968" y="4233696"/>
            <a:ext cx="6059932" cy="235449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idelines for our collaborat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1140968" y="5096741"/>
            <a:ext cx="6059932" cy="2354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tion: 15 min</a:t>
            </a:r>
          </a:p>
          <a:p>
            <a:r>
              <a:rPr lang="nl-B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er: Nils MC GRATH (DIGIT)</a:t>
            </a: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893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7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l-BE" sz="24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838201" y="3424945"/>
            <a:ext cx="3341916" cy="309348"/>
          </a:xfrm>
        </p:spPr>
        <p:txBody>
          <a:bodyPr/>
          <a:lstStyle/>
          <a:p>
            <a:r>
              <a:rPr lang="nl-B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838200" y="3265388"/>
            <a:ext cx="3341916" cy="67252"/>
          </a:xfrm>
        </p:spPr>
        <p:txBody>
          <a:bodyPr/>
          <a:lstStyle/>
          <a:p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idelines</a:t>
            </a:r>
            <a:r>
              <a:rPr lang="nl-BE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or </a:t>
            </a:r>
            <a:r>
              <a:rPr lang="nl-BE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ion</a:t>
            </a:r>
            <a:endParaRPr lang="en-GB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55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Ready to get started?</a:t>
            </a:r>
            <a:endParaRPr lang="en-US" sz="10000" dirty="0"/>
          </a:p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2"/>
          </p:nvPr>
        </p:nvSpPr>
        <p:spPr>
          <a:xfrm>
            <a:off x="839787" y="2256285"/>
            <a:ext cx="9822461" cy="1172715"/>
          </a:xfrm>
        </p:spPr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Reach out to us to learn more!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Send an e-mail to </a:t>
            </a:r>
          </a:p>
          <a:p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hlinkClick r:id="rId2"/>
            </a:endParaRPr>
          </a:p>
          <a:p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hlinkClick r:id="rId2"/>
            </a:endParaRPr>
          </a:p>
          <a:p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hlinkClick r:id="rId2"/>
              </a:rPr>
              <a:t>CEF-BUILDING-BLOCKS@ec.europa.eu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11213811" y="6165382"/>
            <a:ext cx="701038" cy="4861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04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5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7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48459EC-E8EE-B94C-A161-8C210AC61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742A63-794D-2F40-8558-16A72930EC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9788" y="1541797"/>
            <a:ext cx="367158" cy="329104"/>
          </a:xfrm>
        </p:spPr>
        <p:txBody>
          <a:bodyPr/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A7E42F9-0ED9-5B48-A453-C216E92F6D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9138" y="1507174"/>
            <a:ext cx="4913375" cy="329104"/>
          </a:xfrm>
        </p:spPr>
        <p:txBody>
          <a:bodyPr/>
          <a:lstStyle/>
          <a:p>
            <a:r>
              <a:rPr lang="fr-B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1348155" y="1710523"/>
            <a:ext cx="5257800" cy="329104"/>
          </a:xfrm>
        </p:spPr>
        <p:txBody>
          <a:bodyPr>
            <a:normAutofit/>
          </a:bodyPr>
          <a:lstStyle/>
          <a:p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’ - Recap, roadmap and objectives for today / </a:t>
            </a:r>
            <a:r>
              <a:rPr lang="en-GB" sz="11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 min presentation </a:t>
            </a:r>
            <a:endParaRPr lang="en-US" sz="1100" dirty="0">
              <a:solidFill>
                <a:srgbClr val="F4CF3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77CAADCB-3E18-494B-BE2B-4E9978E903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788" y="2450907"/>
            <a:ext cx="367158" cy="329104"/>
          </a:xfrm>
        </p:spPr>
        <p:txBody>
          <a:bodyPr/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8F7CF29-C37A-D041-96AC-AB2889DAFF4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19138" y="2416284"/>
            <a:ext cx="4913375" cy="329104"/>
          </a:xfrm>
        </p:spPr>
        <p:txBody>
          <a:bodyPr>
            <a:normAutofit/>
          </a:bodyPr>
          <a:lstStyle/>
          <a:p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organisation of work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1ECAF85-290B-7F4A-B07D-CBC2F9C067E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49743" y="2619633"/>
            <a:ext cx="6357846" cy="329104"/>
          </a:xfrm>
        </p:spPr>
        <p:txBody>
          <a:bodyPr>
            <a:normAutofit/>
          </a:bodyPr>
          <a:lstStyle/>
          <a:p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’ - Overview, structure, sequence </a:t>
            </a:r>
            <a:r>
              <a:rPr lang="en-GB" sz="11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 min presentation / 20 min discussion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8EA02E17-1AE5-3841-91CD-953F0EA647C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9788" y="3400364"/>
            <a:ext cx="367158" cy="329104"/>
          </a:xfrm>
        </p:spPr>
        <p:txBody>
          <a:bodyPr/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5D15DE14-F323-854D-8E7D-032EDAA62B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19138" y="3365741"/>
            <a:ext cx="4913375" cy="329104"/>
          </a:xfrm>
        </p:spPr>
        <p:txBody>
          <a:bodyPr/>
          <a:lstStyle/>
          <a:p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ase 1 work packages 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F3399EFF-C8E9-604A-BE45-AF3A4BEE81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349743" y="3579017"/>
            <a:ext cx="8003766" cy="329104"/>
          </a:xfrm>
        </p:spPr>
        <p:txBody>
          <a:bodyPr>
            <a:normAutofit/>
          </a:bodyPr>
          <a:lstStyle/>
          <a:p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’ - Topics, timelines and expected outputs / </a:t>
            </a:r>
            <a:r>
              <a:rPr lang="en-GB" sz="11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min presentation (x5) / 5 min discussion (x5)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3A0423CA-3CEF-2C48-9F71-F0D8813F01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63536" y="4349577"/>
            <a:ext cx="367158" cy="329104"/>
          </a:xfrm>
        </p:spPr>
        <p:txBody>
          <a:bodyPr/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1D9693EE-775B-CC45-9E01-D515A649643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42886" y="4314954"/>
            <a:ext cx="4913375" cy="329104"/>
          </a:xfrm>
        </p:spPr>
        <p:txBody>
          <a:bodyPr/>
          <a:lstStyle/>
          <a:p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Q update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A5C292BE-8E97-734C-A2DE-3486B26527D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49743" y="4508740"/>
            <a:ext cx="5292725" cy="329104"/>
          </a:xfrm>
        </p:spPr>
        <p:txBody>
          <a:bodyPr>
            <a:normAutofit/>
          </a:bodyPr>
          <a:lstStyle/>
          <a:p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’ - Update on the FAQ / </a:t>
            </a:r>
            <a:r>
              <a:rPr lang="en-GB" sz="11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min presentation / 10 min Q&amp;A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15E96CD3-8761-7445-AD90-5C2A3E7FB7B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51344" y="5273342"/>
            <a:ext cx="367158" cy="329104"/>
          </a:xfrm>
        </p:spPr>
        <p:txBody>
          <a:bodyPr/>
          <a:lstStyle/>
          <a:p>
            <a:r>
              <a:rPr lang="en-GB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C9D3461-3A15-6841-ABB7-C358F775FCB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230694" y="5238719"/>
            <a:ext cx="4913375" cy="329104"/>
          </a:xfrm>
        </p:spPr>
        <p:txBody>
          <a:bodyPr/>
          <a:lstStyle/>
          <a:p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t steps &amp; ways of working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533FC9B-1BA1-124A-AB3F-38A2FE14A76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373491" y="5452466"/>
            <a:ext cx="6710609" cy="329104"/>
          </a:xfrm>
        </p:spPr>
        <p:txBody>
          <a:bodyPr>
            <a:normAutofit/>
          </a:bodyPr>
          <a:lstStyle/>
          <a:p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’ - Guidelines for our collaboration / </a:t>
            </a:r>
            <a:r>
              <a:rPr lang="en-GB" sz="11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min presentation / 10 min Q&amp;A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937213B4-BF8C-AE49-B578-07F30F7E43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0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br>
              <a:rPr lang="en-US" sz="2000" dirty="0">
                <a:solidFill>
                  <a:srgbClr val="F4CF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000" dirty="0">
              <a:solidFill>
                <a:srgbClr val="F4CF3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7E50CEFB-1768-2842-B074-5EA9055D7588}"/>
              </a:ext>
            </a:extLst>
          </p:cNvPr>
          <p:cNvSpPr txBox="1">
            <a:spLocks/>
          </p:cNvSpPr>
          <p:nvPr/>
        </p:nvSpPr>
        <p:spPr>
          <a:xfrm>
            <a:off x="863536" y="5974197"/>
            <a:ext cx="6710609" cy="329104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– </a:t>
            </a:r>
            <a:r>
              <a:rPr lang="en-GB" sz="12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28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19188" y="3607143"/>
            <a:ext cx="5105766" cy="602194"/>
          </a:xfrm>
        </p:spPr>
        <p:txBody>
          <a:bodyPr/>
          <a:lstStyle/>
          <a:p>
            <a:r>
              <a:rPr lang="nl-BE" sz="3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Introduction</a:t>
            </a:r>
            <a:endParaRPr lang="en-GB" sz="3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40968" y="4260075"/>
            <a:ext cx="6059932" cy="235449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ap, roadmap and objectives for today</a:t>
            </a:r>
            <a:endParaRPr lang="en-GB" sz="2000" b="1" dirty="0">
              <a:solidFill>
                <a:schemeClr val="tx1"/>
              </a:solidFill>
            </a:endParaRPr>
          </a:p>
        </p:txBody>
      </p:sp>
      <p:sp>
        <p:nvSpPr>
          <p:cNvPr id="15" name="Text Placeholder 11"/>
          <p:cNvSpPr txBox="1">
            <a:spLocks/>
          </p:cNvSpPr>
          <p:nvPr/>
        </p:nvSpPr>
        <p:spPr>
          <a:xfrm>
            <a:off x="1140967" y="5079159"/>
            <a:ext cx="8477817" cy="864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tion: 10 min</a:t>
            </a:r>
          </a:p>
          <a:p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ers: Marian GRUBBEN and Fleur BREUILLIN (DG GROW)</a:t>
            </a:r>
          </a:p>
        </p:txBody>
      </p:sp>
    </p:spTree>
    <p:extLst>
      <p:ext uri="{BB962C8B-B14F-4D97-AF65-F5344CB8AC3E}">
        <p14:creationId xmlns:p14="http://schemas.microsoft.com/office/powerpoint/2010/main" val="320594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186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nl-BE" b="1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  <a:endParaRPr lang="en-GB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D46966-B82A-9843-8A14-3628EADCE47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39788" y="1772004"/>
            <a:ext cx="10514012" cy="3759831"/>
          </a:xfrm>
        </p:spPr>
        <p:txBody>
          <a:bodyPr>
            <a:normAutofit/>
          </a:bodyPr>
          <a:lstStyle/>
          <a:p>
            <a:r>
              <a:rPr lang="nl-B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deo:</a:t>
            </a:r>
          </a:p>
          <a:p>
            <a:r>
              <a:rPr lang="en-GB" dirty="0">
                <a:hlinkClick r:id="rId7"/>
              </a:rPr>
              <a:t>https://www.youtube.com/watch?v=ADLJzOcu5tU&amp;t=229s</a:t>
            </a:r>
            <a:endParaRPr lang="en-GB" dirty="0"/>
          </a:p>
          <a:p>
            <a:endParaRPr lang="en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7D1482-A965-3F4B-A6A1-912C55F650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61708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BE" sz="2000" b="1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in in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2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F377CF-A798-1442-BE89-3EF92C2A0846}"/>
              </a:ext>
            </a:extLst>
          </p:cNvPr>
          <p:cNvSpPr txBox="1"/>
          <p:nvPr/>
        </p:nvSpPr>
        <p:spPr>
          <a:xfrm>
            <a:off x="707453" y="2610196"/>
            <a:ext cx="48811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dirty="0" err="1">
                <a:latin typeface="EC Square Sans Pro" panose="020B0506040000020004" pitchFamily="34" charset="0"/>
              </a:rPr>
              <a:t>menti.com</a:t>
            </a:r>
            <a:endParaRPr lang="en-GB" sz="5400" dirty="0">
              <a:latin typeface="EC Square Sans Pro" panose="020B0506040000020004" pitchFamily="34" charset="0"/>
            </a:endParaRPr>
          </a:p>
          <a:p>
            <a:r>
              <a:rPr lang="en-GB" sz="5400" dirty="0">
                <a:latin typeface="EC Square Sans Pro" panose="020B0506040000020004" pitchFamily="34" charset="0"/>
              </a:rPr>
              <a:t>Code: 33 08 91</a:t>
            </a:r>
            <a:endParaRPr lang="en-BE" sz="5400" dirty="0">
              <a:latin typeface="EC Square Sans Pro" panose="020B050604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3AF25F-15BF-8846-ACEA-27BA9B339C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8698" y="1718264"/>
            <a:ext cx="3882222" cy="3882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12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8A73F2-0E12-4675-8D1B-7C9F81912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82788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5" name="think-cell Slide" r:id="rId6" imgW="482" imgH="481" progId="TCLayout.ActiveDocument.1">
                  <p:embed/>
                </p:oleObj>
              </mc:Choice>
              <mc:Fallback>
                <p:oleObj name="think-cell Slide" r:id="rId6" imgW="482" imgH="48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8A73F2-0E12-4675-8D1B-7C9F81912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F24C97-C6FC-4D5D-B540-05D01660D59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1219140">
              <a:defRPr/>
            </a:pPr>
            <a:endParaRPr kumimoji="0" lang="en-US" sz="2000" b="1" u="none" strike="noStrike" kern="1200" cap="none" spc="0" normalizeH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admap, 4-step approach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50EE1-A908-D94B-8871-46A75394D4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BE"/>
          </a:p>
        </p:txBody>
      </p:sp>
      <p:grpSp>
        <p:nvGrpSpPr>
          <p:cNvPr id="10" name="Group 9"/>
          <p:cNvGrpSpPr/>
          <p:nvPr/>
        </p:nvGrpSpPr>
        <p:grpSpPr>
          <a:xfrm>
            <a:off x="833808" y="1546019"/>
            <a:ext cx="10524384" cy="4471511"/>
            <a:chOff x="671487" y="1546019"/>
            <a:chExt cx="10524384" cy="447151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46F11DE-AD2F-4BBD-BF15-077E67B2A291}"/>
                </a:ext>
              </a:extLst>
            </p:cNvPr>
            <p:cNvSpPr/>
            <p:nvPr/>
          </p:nvSpPr>
          <p:spPr bwMode="auto">
            <a:xfrm>
              <a:off x="3481639" y="1546019"/>
              <a:ext cx="2058927" cy="548973"/>
            </a:xfrm>
            <a:prstGeom prst="rect">
              <a:avLst/>
            </a:prstGeom>
            <a:solidFill>
              <a:schemeClr val="tx2"/>
            </a:solidFill>
            <a:ln w="101600" cap="sq">
              <a:solidFill>
                <a:srgbClr val="859EFF"/>
              </a:solidFill>
              <a:miter lim="800000"/>
            </a:ln>
          </p:spPr>
          <p:txBody>
            <a:bodyPr rot="0" spcFirstLastPara="0" vertOverflow="overflow" horzOverflow="overflow" vert="horz" wrap="square" lIns="240000" tIns="240000" rIns="240000" bIns="24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GANISING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4DC49CB-DFE3-4FA5-BA36-DAA151A31C26}"/>
                </a:ext>
              </a:extLst>
            </p:cNvPr>
            <p:cNvSpPr/>
            <p:nvPr/>
          </p:nvSpPr>
          <p:spPr bwMode="auto">
            <a:xfrm>
              <a:off x="722508" y="1552951"/>
              <a:ext cx="2039201" cy="548973"/>
            </a:xfrm>
            <a:prstGeom prst="rect">
              <a:avLst/>
            </a:prstGeom>
            <a:solidFill>
              <a:schemeClr val="tx2"/>
            </a:solidFill>
            <a:ln w="101600" cap="sq">
              <a:solidFill>
                <a:srgbClr val="859EFF"/>
              </a:solidFill>
              <a:miter lim="800000"/>
            </a:ln>
          </p:spPr>
          <p:txBody>
            <a:bodyPr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ILATERALS</a:t>
              </a:r>
            </a:p>
          </p:txBody>
        </p:sp>
        <p:sp>
          <p:nvSpPr>
            <p:cNvPr id="27" name="Chevron 110">
              <a:extLst>
                <a:ext uri="{FF2B5EF4-FFF2-40B4-BE49-F238E27FC236}">
                  <a16:creationId xmlns:a16="http://schemas.microsoft.com/office/drawing/2014/main" id="{4C23EBB6-BEE8-4BEB-8A75-386B2FD12FF5}"/>
                </a:ext>
              </a:extLst>
            </p:cNvPr>
            <p:cNvSpPr/>
            <p:nvPr/>
          </p:nvSpPr>
          <p:spPr>
            <a:xfrm>
              <a:off x="8646800" y="2971047"/>
              <a:ext cx="116731" cy="231112"/>
            </a:xfrm>
            <a:prstGeom prst="chevron">
              <a:avLst>
                <a:gd name="adj" fmla="val 74590"/>
              </a:avLst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6DDAD4C-6464-4E17-8795-97FE3215D456}"/>
                </a:ext>
              </a:extLst>
            </p:cNvPr>
            <p:cNvSpPr/>
            <p:nvPr/>
          </p:nvSpPr>
          <p:spPr bwMode="auto">
            <a:xfrm>
              <a:off x="6262064" y="1555836"/>
              <a:ext cx="2039200" cy="548973"/>
            </a:xfrm>
            <a:prstGeom prst="rect">
              <a:avLst/>
            </a:prstGeom>
            <a:solidFill>
              <a:schemeClr val="tx2"/>
            </a:solidFill>
            <a:ln w="101600" cap="sq">
              <a:solidFill>
                <a:srgbClr val="859EFF"/>
              </a:solidFill>
              <a:miter lim="800000"/>
            </a:ln>
          </p:spPr>
          <p:txBody>
            <a:bodyPr rot="0" spcFirstLastPara="0" vertOverflow="overflow" horzOverflow="overflow" vert="horz" wrap="square" lIns="240000" tIns="240000" rIns="240000" bIns="24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LANNING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92C3521-8CB9-4111-92EB-6DAE953C8BC5}"/>
                </a:ext>
              </a:extLst>
            </p:cNvPr>
            <p:cNvSpPr/>
            <p:nvPr/>
          </p:nvSpPr>
          <p:spPr bwMode="auto">
            <a:xfrm>
              <a:off x="671487" y="2419427"/>
              <a:ext cx="2129213" cy="1340992"/>
            </a:xfrm>
            <a:prstGeom prst="rect">
              <a:avLst/>
            </a:prstGeom>
            <a:solidFill>
              <a:schemeClr val="bg1"/>
            </a:solidFill>
            <a:ln w="50800" cap="sq">
              <a:solidFill>
                <a:srgbClr val="859EFF"/>
              </a:solidFill>
              <a:miter lim="800000"/>
            </a:ln>
          </p:spPr>
          <p:txBody>
            <a:bodyPr vert="horz"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dentification of issues &amp; challenges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C115923-2F56-4535-A18D-97E706C5729C}"/>
                </a:ext>
              </a:extLst>
            </p:cNvPr>
            <p:cNvSpPr/>
            <p:nvPr/>
          </p:nvSpPr>
          <p:spPr bwMode="auto">
            <a:xfrm>
              <a:off x="9111664" y="1555836"/>
              <a:ext cx="2039200" cy="548973"/>
            </a:xfrm>
            <a:prstGeom prst="rect">
              <a:avLst/>
            </a:prstGeom>
            <a:solidFill>
              <a:schemeClr val="tx2"/>
            </a:solidFill>
            <a:ln w="101600" cap="sq">
              <a:solidFill>
                <a:srgbClr val="859EFF"/>
              </a:solidFill>
              <a:miter lim="800000"/>
            </a:ln>
          </p:spPr>
          <p:txBody>
            <a:bodyPr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NG</a:t>
              </a:r>
            </a:p>
          </p:txBody>
        </p:sp>
        <p:sp>
          <p:nvSpPr>
            <p:cNvPr id="57" name="Chevron 110">
              <a:extLst>
                <a:ext uri="{FF2B5EF4-FFF2-40B4-BE49-F238E27FC236}">
                  <a16:creationId xmlns:a16="http://schemas.microsoft.com/office/drawing/2014/main" id="{EF0EA7EE-F0DC-47C3-8A15-8A5ACE90A7AB}"/>
                </a:ext>
              </a:extLst>
            </p:cNvPr>
            <p:cNvSpPr/>
            <p:nvPr/>
          </p:nvSpPr>
          <p:spPr>
            <a:xfrm>
              <a:off x="5826320" y="2971047"/>
              <a:ext cx="116731" cy="231112"/>
            </a:xfrm>
            <a:prstGeom prst="chevron">
              <a:avLst>
                <a:gd name="adj" fmla="val 74590"/>
              </a:avLst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8" name="Chevron 110">
              <a:extLst>
                <a:ext uri="{FF2B5EF4-FFF2-40B4-BE49-F238E27FC236}">
                  <a16:creationId xmlns:a16="http://schemas.microsoft.com/office/drawing/2014/main" id="{D3628741-DB5F-4F12-B5F2-F60C0DD29742}"/>
                </a:ext>
              </a:extLst>
            </p:cNvPr>
            <p:cNvSpPr/>
            <p:nvPr/>
          </p:nvSpPr>
          <p:spPr>
            <a:xfrm>
              <a:off x="3073260" y="2971047"/>
              <a:ext cx="116731" cy="231112"/>
            </a:xfrm>
            <a:prstGeom prst="chevron">
              <a:avLst>
                <a:gd name="adj" fmla="val 74590"/>
              </a:avLst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5399961-AC3D-48E9-9878-6A760CC423DE}"/>
                </a:ext>
              </a:extLst>
            </p:cNvPr>
            <p:cNvSpPr/>
            <p:nvPr/>
          </p:nvSpPr>
          <p:spPr bwMode="auto">
            <a:xfrm>
              <a:off x="1059192" y="4854465"/>
              <a:ext cx="908389" cy="151275"/>
            </a:xfrm>
            <a:prstGeom prst="rect">
              <a:avLst/>
            </a:prstGeom>
            <a:solidFill>
              <a:srgbClr val="FBECAC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opic1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723A50B-2573-4E20-A73B-264A9CCF2297}"/>
                </a:ext>
              </a:extLst>
            </p:cNvPr>
            <p:cNvSpPr/>
            <p:nvPr/>
          </p:nvSpPr>
          <p:spPr bwMode="auto">
            <a:xfrm>
              <a:off x="1269526" y="5514722"/>
              <a:ext cx="698057" cy="158869"/>
            </a:xfrm>
            <a:prstGeom prst="rect">
              <a:avLst/>
            </a:prstGeom>
            <a:solidFill>
              <a:srgbClr val="EFA7A8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ssue 2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F3E3F61E-FAED-41CF-B8D5-5E7481ECC713}"/>
                </a:ext>
              </a:extLst>
            </p:cNvPr>
            <p:cNvSpPr/>
            <p:nvPr/>
          </p:nvSpPr>
          <p:spPr bwMode="auto">
            <a:xfrm>
              <a:off x="1269526" y="5745943"/>
              <a:ext cx="698057" cy="158869"/>
            </a:xfrm>
            <a:prstGeom prst="rect">
              <a:avLst/>
            </a:prstGeom>
            <a:solidFill>
              <a:srgbClr val="EFA7A8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BE" sz="900" dirty="0">
                  <a:solidFill>
                    <a:srgbClr val="64656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…</a:t>
              </a:r>
              <a:endPara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CB542C9-735D-4368-9FFA-681CEF70FED2}"/>
                </a:ext>
              </a:extLst>
            </p:cNvPr>
            <p:cNvSpPr/>
            <p:nvPr/>
          </p:nvSpPr>
          <p:spPr bwMode="auto">
            <a:xfrm>
              <a:off x="1059192" y="5317298"/>
              <a:ext cx="908389" cy="158869"/>
            </a:xfrm>
            <a:prstGeom prst="rect">
              <a:avLst/>
            </a:prstGeom>
            <a:solidFill>
              <a:srgbClr val="FBECAC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opic 2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F505F71-EA09-4CCF-82CB-A1995A45E06D}"/>
                </a:ext>
              </a:extLst>
            </p:cNvPr>
            <p:cNvSpPr/>
            <p:nvPr/>
          </p:nvSpPr>
          <p:spPr bwMode="auto">
            <a:xfrm>
              <a:off x="1269526" y="5082847"/>
              <a:ext cx="698057" cy="158869"/>
            </a:xfrm>
            <a:prstGeom prst="rect">
              <a:avLst/>
            </a:prstGeom>
            <a:solidFill>
              <a:srgbClr val="EFA7A8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ssue 1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660796" y="4250792"/>
              <a:ext cx="908392" cy="1653305"/>
              <a:chOff x="3660796" y="4250792"/>
              <a:chExt cx="908392" cy="1653305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AA70857-ABB5-4C87-BBFB-D579FE7636B0}"/>
                  </a:ext>
                </a:extLst>
              </p:cNvPr>
              <p:cNvSpPr/>
              <p:nvPr/>
            </p:nvSpPr>
            <p:spPr bwMode="auto">
              <a:xfrm>
                <a:off x="3660796" y="4250792"/>
                <a:ext cx="908389" cy="158869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ork Package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6BB14AE3-CD5A-4EC8-9639-F4D702DB759C}"/>
                  </a:ext>
                </a:extLst>
              </p:cNvPr>
              <p:cNvSpPr/>
              <p:nvPr/>
            </p:nvSpPr>
            <p:spPr bwMode="auto">
              <a:xfrm>
                <a:off x="3871129" y="5327941"/>
                <a:ext cx="698059" cy="158869"/>
              </a:xfrm>
              <a:prstGeom prst="rect">
                <a:avLst/>
              </a:prstGeom>
              <a:solidFill>
                <a:srgbClr val="FBECAC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opic 2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C19FC712-DC0E-409F-94E2-EB20CC392B93}"/>
                  </a:ext>
                </a:extLst>
              </p:cNvPr>
              <p:cNvSpPr/>
              <p:nvPr/>
            </p:nvSpPr>
            <p:spPr bwMode="auto">
              <a:xfrm>
                <a:off x="4158434" y="5548345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991C5EDD-306B-499C-BCEE-4752CB6EC30F}"/>
                  </a:ext>
                </a:extLst>
              </p:cNvPr>
              <p:cNvSpPr/>
              <p:nvPr/>
            </p:nvSpPr>
            <p:spPr bwMode="auto">
              <a:xfrm>
                <a:off x="4158434" y="5745228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60B9F108-71FE-4FC2-BE3E-75CBA8FC056D}"/>
                  </a:ext>
                </a:extLst>
              </p:cNvPr>
              <p:cNvSpPr/>
              <p:nvPr/>
            </p:nvSpPr>
            <p:spPr bwMode="auto">
              <a:xfrm>
                <a:off x="3660796" y="5103946"/>
                <a:ext cx="908389" cy="158869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ork Package</a:t>
                </a: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4818450D-F11B-42E0-A2B1-C8F16BE029A6}"/>
                  </a:ext>
                </a:extLst>
              </p:cNvPr>
              <p:cNvSpPr/>
              <p:nvPr/>
            </p:nvSpPr>
            <p:spPr bwMode="auto">
              <a:xfrm>
                <a:off x="3871129" y="4486768"/>
                <a:ext cx="698059" cy="158869"/>
              </a:xfrm>
              <a:prstGeom prst="rect">
                <a:avLst/>
              </a:prstGeom>
              <a:solidFill>
                <a:srgbClr val="FBECAC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opic 1</a:t>
                </a: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C874201-C4C3-46BE-A14A-7A0831CDBC29}"/>
                  </a:ext>
                </a:extLst>
              </p:cNvPr>
              <p:cNvSpPr/>
              <p:nvPr/>
            </p:nvSpPr>
            <p:spPr bwMode="auto">
              <a:xfrm>
                <a:off x="4158434" y="4684188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1BD9FEB8-2AED-4C62-85D5-EA6F0B0DAAE9}"/>
                  </a:ext>
                </a:extLst>
              </p:cNvPr>
              <p:cNvSpPr/>
              <p:nvPr/>
            </p:nvSpPr>
            <p:spPr bwMode="auto">
              <a:xfrm>
                <a:off x="4158434" y="4881612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</p:grpSp>
        <p:grpSp>
          <p:nvGrpSpPr>
            <p:cNvPr id="207" name="Groupe 206">
              <a:extLst>
                <a:ext uri="{FF2B5EF4-FFF2-40B4-BE49-F238E27FC236}">
                  <a16:creationId xmlns:a16="http://schemas.microsoft.com/office/drawing/2014/main" id="{E04460B8-E909-4C10-BAD7-AF3256286A6E}"/>
                </a:ext>
              </a:extLst>
            </p:cNvPr>
            <p:cNvGrpSpPr/>
            <p:nvPr/>
          </p:nvGrpSpPr>
          <p:grpSpPr>
            <a:xfrm>
              <a:off x="10280248" y="4485553"/>
              <a:ext cx="915616" cy="1405355"/>
              <a:chOff x="7083216" y="3573714"/>
              <a:chExt cx="554557" cy="1054016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716DAB65-37D7-4401-B709-1F72E41DBF8E}"/>
                  </a:ext>
                </a:extLst>
              </p:cNvPr>
              <p:cNvSpPr/>
              <p:nvPr/>
            </p:nvSpPr>
            <p:spPr bwMode="auto">
              <a:xfrm>
                <a:off x="7087597" y="4359883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7B47DB19-0B3A-4934-9442-42D0C4B746D5}"/>
                  </a:ext>
                </a:extLst>
              </p:cNvPr>
              <p:cNvSpPr/>
              <p:nvPr/>
            </p:nvSpPr>
            <p:spPr bwMode="auto">
              <a:xfrm>
                <a:off x="7083216" y="4508578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F73E807-912D-4B11-907B-E81C8F91C346}"/>
                  </a:ext>
                </a:extLst>
              </p:cNvPr>
              <p:cNvSpPr/>
              <p:nvPr/>
            </p:nvSpPr>
            <p:spPr bwMode="auto">
              <a:xfrm>
                <a:off x="7087597" y="3734790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43039FD3-2C18-4C3C-BD63-B7BB68D6CA7D}"/>
                  </a:ext>
                </a:extLst>
              </p:cNvPr>
              <p:cNvSpPr/>
              <p:nvPr/>
            </p:nvSpPr>
            <p:spPr bwMode="auto">
              <a:xfrm>
                <a:off x="7087597" y="3882859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5D296D8B-267C-4349-B230-6938360C6ACA}"/>
                  </a:ext>
                </a:extLst>
              </p:cNvPr>
              <p:cNvSpPr/>
              <p:nvPr/>
            </p:nvSpPr>
            <p:spPr bwMode="auto">
              <a:xfrm>
                <a:off x="7087597" y="3734597"/>
                <a:ext cx="210522" cy="119344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D8573BD0-A091-4779-BC4B-A344873123FB}"/>
                  </a:ext>
                </a:extLst>
              </p:cNvPr>
              <p:cNvSpPr/>
              <p:nvPr/>
            </p:nvSpPr>
            <p:spPr bwMode="auto">
              <a:xfrm>
                <a:off x="7087597" y="3882664"/>
                <a:ext cx="333571" cy="119153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E0044BFC-0B74-4543-BBBF-5A3988D2D77B}"/>
                  </a:ext>
                </a:extLst>
              </p:cNvPr>
              <p:cNvSpPr/>
              <p:nvPr/>
            </p:nvSpPr>
            <p:spPr bwMode="auto">
              <a:xfrm>
                <a:off x="7088266" y="4362034"/>
                <a:ext cx="457450" cy="117000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B3A10EEC-F7D9-43F9-B1A9-28D6433F1EFB}"/>
                  </a:ext>
                </a:extLst>
              </p:cNvPr>
              <p:cNvSpPr/>
              <p:nvPr/>
            </p:nvSpPr>
            <p:spPr bwMode="auto">
              <a:xfrm>
                <a:off x="7087593" y="4505008"/>
                <a:ext cx="149456" cy="115024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5B4022B2-B028-4F0B-BB1C-BBCA0BF40696}"/>
                  </a:ext>
                </a:extLst>
              </p:cNvPr>
              <p:cNvSpPr/>
              <p:nvPr/>
            </p:nvSpPr>
            <p:spPr bwMode="auto">
              <a:xfrm>
                <a:off x="7087597" y="3574626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2CE25291-FCAB-4397-9771-62ECEE4E3C04}"/>
                  </a:ext>
                </a:extLst>
              </p:cNvPr>
              <p:cNvSpPr/>
              <p:nvPr/>
            </p:nvSpPr>
            <p:spPr bwMode="auto">
              <a:xfrm>
                <a:off x="7087597" y="3573714"/>
                <a:ext cx="275085" cy="119152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DBC56BD2-C4BB-4F54-8ED0-2AA2938D0B5B}"/>
                  </a:ext>
                </a:extLst>
              </p:cNvPr>
              <p:cNvSpPr/>
              <p:nvPr/>
            </p:nvSpPr>
            <p:spPr bwMode="auto">
              <a:xfrm>
                <a:off x="7087593" y="4202008"/>
                <a:ext cx="550176" cy="11915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7FE03C7B-1EB7-4433-BA04-A8112B15E0ED}"/>
                  </a:ext>
                </a:extLst>
              </p:cNvPr>
              <p:cNvSpPr/>
              <p:nvPr/>
            </p:nvSpPr>
            <p:spPr bwMode="auto">
              <a:xfrm>
                <a:off x="7087593" y="4201803"/>
                <a:ext cx="358844" cy="115024"/>
              </a:xfrm>
              <a:prstGeom prst="rect">
                <a:avLst/>
              </a:prstGeom>
              <a:solidFill>
                <a:schemeClr val="tx2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cxnSp>
          <p:nvCxnSpPr>
            <p:cNvPr id="159" name="Connecteur droit 158">
              <a:extLst>
                <a:ext uri="{FF2B5EF4-FFF2-40B4-BE49-F238E27FC236}">
                  <a16:creationId xmlns:a16="http://schemas.microsoft.com/office/drawing/2014/main" id="{6459DECF-7A2E-499C-973D-AD47BBE3B35B}"/>
                </a:ext>
              </a:extLst>
            </p:cNvPr>
            <p:cNvCxnSpPr/>
            <p:nvPr/>
          </p:nvCxnSpPr>
          <p:spPr bwMode="auto">
            <a:xfrm>
              <a:off x="6243627" y="4581732"/>
              <a:ext cx="1966815" cy="0"/>
            </a:xfrm>
            <a:prstGeom prst="line">
              <a:avLst/>
            </a:prstGeom>
            <a:noFill/>
            <a:ln w="1905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16" name="Groupe 215">
              <a:extLst>
                <a:ext uri="{FF2B5EF4-FFF2-40B4-BE49-F238E27FC236}">
                  <a16:creationId xmlns:a16="http://schemas.microsoft.com/office/drawing/2014/main" id="{AF5669AF-0AA6-4DFD-96E3-9F4C78039D00}"/>
                </a:ext>
              </a:extLst>
            </p:cNvPr>
            <p:cNvGrpSpPr/>
            <p:nvPr/>
          </p:nvGrpSpPr>
          <p:grpSpPr>
            <a:xfrm>
              <a:off x="6815771" y="4218378"/>
              <a:ext cx="1121992" cy="1652837"/>
              <a:chOff x="5330903" y="3373332"/>
              <a:chExt cx="841494" cy="1546011"/>
            </a:xfrm>
          </p:grpSpPr>
          <p:cxnSp>
            <p:nvCxnSpPr>
              <p:cNvPr id="161" name="Connecteur droit 160">
                <a:extLst>
                  <a:ext uri="{FF2B5EF4-FFF2-40B4-BE49-F238E27FC236}">
                    <a16:creationId xmlns:a16="http://schemas.microsoft.com/office/drawing/2014/main" id="{86E10BF9-A91E-4886-8806-0D951B2E64AF}"/>
                  </a:ext>
                </a:extLst>
              </p:cNvPr>
              <p:cNvCxnSpPr/>
              <p:nvPr/>
            </p:nvCxnSpPr>
            <p:spPr bwMode="auto">
              <a:xfrm>
                <a:off x="5330903" y="3373332"/>
                <a:ext cx="0" cy="1546011"/>
              </a:xfrm>
              <a:prstGeom prst="line">
                <a:avLst/>
              </a:prstGeom>
              <a:noFill/>
              <a:ln w="19050" cap="rnd" cmpd="sng" algn="ctr">
                <a:solidFill>
                  <a:schemeClr val="bg1">
                    <a:lumMod val="85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2" name="Connecteur droit 161">
                <a:extLst>
                  <a:ext uri="{FF2B5EF4-FFF2-40B4-BE49-F238E27FC236}">
                    <a16:creationId xmlns:a16="http://schemas.microsoft.com/office/drawing/2014/main" id="{54692311-7140-4FA9-9F81-6190F56F10A6}"/>
                  </a:ext>
                </a:extLst>
              </p:cNvPr>
              <p:cNvCxnSpPr/>
              <p:nvPr/>
            </p:nvCxnSpPr>
            <p:spPr bwMode="auto">
              <a:xfrm>
                <a:off x="5726567" y="3373332"/>
                <a:ext cx="0" cy="1546011"/>
              </a:xfrm>
              <a:prstGeom prst="line">
                <a:avLst/>
              </a:prstGeom>
              <a:noFill/>
              <a:ln w="19050" cap="rnd" cmpd="sng" algn="ctr">
                <a:solidFill>
                  <a:schemeClr val="bg1">
                    <a:lumMod val="85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3" name="Connecteur droit 162">
                <a:extLst>
                  <a:ext uri="{FF2B5EF4-FFF2-40B4-BE49-F238E27FC236}">
                    <a16:creationId xmlns:a16="http://schemas.microsoft.com/office/drawing/2014/main" id="{EE7C585B-C722-401A-BDEE-9AA612321FF4}"/>
                  </a:ext>
                </a:extLst>
              </p:cNvPr>
              <p:cNvCxnSpPr/>
              <p:nvPr/>
            </p:nvCxnSpPr>
            <p:spPr bwMode="auto">
              <a:xfrm>
                <a:off x="6172397" y="3373332"/>
                <a:ext cx="0" cy="1546011"/>
              </a:xfrm>
              <a:prstGeom prst="line">
                <a:avLst/>
              </a:prstGeom>
              <a:noFill/>
              <a:ln w="19050" cap="rnd" cmpd="sng" algn="ctr">
                <a:solidFill>
                  <a:schemeClr val="bg1">
                    <a:lumMod val="85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66" name="Organigramme : Décision 165">
              <a:extLst>
                <a:ext uri="{FF2B5EF4-FFF2-40B4-BE49-F238E27FC236}">
                  <a16:creationId xmlns:a16="http://schemas.microsoft.com/office/drawing/2014/main" id="{0A3CC946-62C8-43F0-90DD-7A1C8BD1D02C}"/>
                </a:ext>
              </a:extLst>
            </p:cNvPr>
            <p:cNvSpPr/>
            <p:nvPr/>
          </p:nvSpPr>
          <p:spPr bwMode="auto">
            <a:xfrm>
              <a:off x="7599777" y="4515212"/>
              <a:ext cx="133976" cy="133037"/>
            </a:xfrm>
            <a:prstGeom prst="flowChartDecision">
              <a:avLst/>
            </a:prstGeom>
            <a:solidFill>
              <a:schemeClr val="accent1"/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7" name="ZoneTexte 166">
              <a:extLst>
                <a:ext uri="{FF2B5EF4-FFF2-40B4-BE49-F238E27FC236}">
                  <a16:creationId xmlns:a16="http://schemas.microsoft.com/office/drawing/2014/main" id="{137D44A1-3E76-4FFB-8CAF-11E65D5E8DB1}"/>
                </a:ext>
              </a:extLst>
            </p:cNvPr>
            <p:cNvSpPr txBox="1"/>
            <p:nvPr/>
          </p:nvSpPr>
          <p:spPr>
            <a:xfrm>
              <a:off x="6351264" y="4180453"/>
              <a:ext cx="5142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1</a:t>
              </a:r>
            </a:p>
          </p:txBody>
        </p:sp>
        <p:sp>
          <p:nvSpPr>
            <p:cNvPr id="168" name="ZoneTexte 167">
              <a:extLst>
                <a:ext uri="{FF2B5EF4-FFF2-40B4-BE49-F238E27FC236}">
                  <a16:creationId xmlns:a16="http://schemas.microsoft.com/office/drawing/2014/main" id="{28D5CAEE-AF6E-4D6E-91C2-320338204C2F}"/>
                </a:ext>
              </a:extLst>
            </p:cNvPr>
            <p:cNvSpPr txBox="1"/>
            <p:nvPr/>
          </p:nvSpPr>
          <p:spPr>
            <a:xfrm>
              <a:off x="6933505" y="4180453"/>
              <a:ext cx="5142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2</a:t>
              </a:r>
            </a:p>
          </p:txBody>
        </p:sp>
        <p:sp>
          <p:nvSpPr>
            <p:cNvPr id="169" name="ZoneTexte 168">
              <a:extLst>
                <a:ext uri="{FF2B5EF4-FFF2-40B4-BE49-F238E27FC236}">
                  <a16:creationId xmlns:a16="http://schemas.microsoft.com/office/drawing/2014/main" id="{287400A1-D327-473F-8E69-60DAD7C9EC8A}"/>
                </a:ext>
              </a:extLst>
            </p:cNvPr>
            <p:cNvSpPr txBox="1"/>
            <p:nvPr/>
          </p:nvSpPr>
          <p:spPr>
            <a:xfrm>
              <a:off x="7511475" y="4180453"/>
              <a:ext cx="5142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3</a:t>
              </a:r>
            </a:p>
          </p:txBody>
        </p:sp>
        <p:sp>
          <p:nvSpPr>
            <p:cNvPr id="170" name="ZoneTexte 169">
              <a:extLst>
                <a:ext uri="{FF2B5EF4-FFF2-40B4-BE49-F238E27FC236}">
                  <a16:creationId xmlns:a16="http://schemas.microsoft.com/office/drawing/2014/main" id="{7E52EB93-A481-48ED-880A-32A7C3CF37A9}"/>
                </a:ext>
              </a:extLst>
            </p:cNvPr>
            <p:cNvSpPr txBox="1"/>
            <p:nvPr/>
          </p:nvSpPr>
          <p:spPr>
            <a:xfrm>
              <a:off x="8058827" y="4180453"/>
              <a:ext cx="5142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646567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4</a:t>
              </a:r>
            </a:p>
          </p:txBody>
        </p:sp>
        <p:sp>
          <p:nvSpPr>
            <p:cNvPr id="172" name="Organigramme : Décision 171">
              <a:extLst>
                <a:ext uri="{FF2B5EF4-FFF2-40B4-BE49-F238E27FC236}">
                  <a16:creationId xmlns:a16="http://schemas.microsoft.com/office/drawing/2014/main" id="{DC01DF9D-B631-457C-A7D8-97220CC57FC2}"/>
                </a:ext>
              </a:extLst>
            </p:cNvPr>
            <p:cNvSpPr/>
            <p:nvPr/>
          </p:nvSpPr>
          <p:spPr bwMode="auto">
            <a:xfrm>
              <a:off x="8160773" y="4515212"/>
              <a:ext cx="133976" cy="133037"/>
            </a:xfrm>
            <a:prstGeom prst="flowChartDecision">
              <a:avLst/>
            </a:prstGeom>
            <a:solidFill>
              <a:srgbClr val="91E2CB"/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73" name="Connecteur droit 172">
              <a:extLst>
                <a:ext uri="{FF2B5EF4-FFF2-40B4-BE49-F238E27FC236}">
                  <a16:creationId xmlns:a16="http://schemas.microsoft.com/office/drawing/2014/main" id="{CC5060E2-1489-4781-B143-783154C594B6}"/>
                </a:ext>
              </a:extLst>
            </p:cNvPr>
            <p:cNvCxnSpPr/>
            <p:nvPr/>
          </p:nvCxnSpPr>
          <p:spPr bwMode="auto">
            <a:xfrm>
              <a:off x="6262401" y="5382312"/>
              <a:ext cx="1966815" cy="0"/>
            </a:xfrm>
            <a:prstGeom prst="line">
              <a:avLst/>
            </a:prstGeom>
            <a:noFill/>
            <a:ln w="1905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4" name="Organigramme : Décision 173">
              <a:extLst>
                <a:ext uri="{FF2B5EF4-FFF2-40B4-BE49-F238E27FC236}">
                  <a16:creationId xmlns:a16="http://schemas.microsoft.com/office/drawing/2014/main" id="{4F980C5F-B0B0-4F2D-93D1-4B73B626CEE6}"/>
                </a:ext>
              </a:extLst>
            </p:cNvPr>
            <p:cNvSpPr/>
            <p:nvPr/>
          </p:nvSpPr>
          <p:spPr bwMode="auto">
            <a:xfrm>
              <a:off x="8154789" y="5316392"/>
              <a:ext cx="133976" cy="133037"/>
            </a:xfrm>
            <a:prstGeom prst="flowChartDecision">
              <a:avLst/>
            </a:prstGeom>
            <a:solidFill>
              <a:schemeClr val="accent1"/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5" name="Organigramme : Décision 174">
              <a:extLst>
                <a:ext uri="{FF2B5EF4-FFF2-40B4-BE49-F238E27FC236}">
                  <a16:creationId xmlns:a16="http://schemas.microsoft.com/office/drawing/2014/main" id="{C22A2F28-E232-472F-BD52-263F712843F9}"/>
                </a:ext>
              </a:extLst>
            </p:cNvPr>
            <p:cNvSpPr/>
            <p:nvPr/>
          </p:nvSpPr>
          <p:spPr bwMode="auto">
            <a:xfrm>
              <a:off x="7602871" y="5317411"/>
              <a:ext cx="133976" cy="133037"/>
            </a:xfrm>
            <a:prstGeom prst="flowChartDecision">
              <a:avLst/>
            </a:prstGeom>
            <a:solidFill>
              <a:srgbClr val="91E2CB"/>
            </a:solidFill>
            <a:ln>
              <a:noFill/>
            </a:ln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5EAF0D74-F249-4C0A-81FB-2715CAC4D335}"/>
                </a:ext>
              </a:extLst>
            </p:cNvPr>
            <p:cNvSpPr/>
            <p:nvPr/>
          </p:nvSpPr>
          <p:spPr bwMode="auto">
            <a:xfrm>
              <a:off x="3438814" y="2431983"/>
              <a:ext cx="2129213" cy="1340992"/>
            </a:xfrm>
            <a:prstGeom prst="rect">
              <a:avLst/>
            </a:prstGeom>
            <a:solidFill>
              <a:schemeClr val="bg1"/>
            </a:solidFill>
            <a:ln w="50800" cap="sq">
              <a:solidFill>
                <a:srgbClr val="859EFF"/>
              </a:solidFill>
              <a:miter lim="800000"/>
            </a:ln>
          </p:spPr>
          <p:txBody>
            <a:bodyPr vert="horz"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ganisation of work &amp; identification of outputs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1DA06860-AA4D-409E-9D52-EE606B82EA7A}"/>
                </a:ext>
              </a:extLst>
            </p:cNvPr>
            <p:cNvSpPr/>
            <p:nvPr/>
          </p:nvSpPr>
          <p:spPr bwMode="auto">
            <a:xfrm>
              <a:off x="9066658" y="2431983"/>
              <a:ext cx="2129213" cy="1340992"/>
            </a:xfrm>
            <a:prstGeom prst="rect">
              <a:avLst/>
            </a:prstGeom>
            <a:solidFill>
              <a:schemeClr val="bg1"/>
            </a:solidFill>
            <a:ln w="50800" cap="sq">
              <a:solidFill>
                <a:srgbClr val="859EFF"/>
              </a:solidFill>
              <a:miter lim="800000"/>
            </a:ln>
          </p:spPr>
          <p:txBody>
            <a:bodyPr vert="horz"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gress and performance</a:t>
              </a: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046A753F-CFA2-454E-88A1-4593FD8B63A8}"/>
                </a:ext>
              </a:extLst>
            </p:cNvPr>
            <p:cNvSpPr/>
            <p:nvPr/>
          </p:nvSpPr>
          <p:spPr bwMode="auto">
            <a:xfrm>
              <a:off x="6231971" y="2431983"/>
              <a:ext cx="2129213" cy="1340992"/>
            </a:xfrm>
            <a:prstGeom prst="rect">
              <a:avLst/>
            </a:prstGeom>
            <a:solidFill>
              <a:schemeClr val="bg1"/>
            </a:solidFill>
            <a:ln w="50800" cap="sq">
              <a:solidFill>
                <a:srgbClr val="859EFF"/>
              </a:solidFill>
              <a:miter lim="800000"/>
            </a:ln>
          </p:spPr>
          <p:txBody>
            <a:bodyPr vert="horz" lIns="240000" tIns="240000" rIns="240000" bIns="24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orities,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lanning &amp; allocation of work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 rot="5400000">
              <a:off x="2063203" y="4807157"/>
              <a:ext cx="21129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 February 2020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 rot="5400000">
              <a:off x="7733252" y="4807157"/>
              <a:ext cx="21129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 April 2020</a:t>
              </a:r>
            </a:p>
          </p:txBody>
        </p:sp>
        <p:grpSp>
          <p:nvGrpSpPr>
            <p:cNvPr id="82" name="Group 81"/>
            <p:cNvGrpSpPr/>
            <p:nvPr/>
          </p:nvGrpSpPr>
          <p:grpSpPr>
            <a:xfrm>
              <a:off x="9175587" y="4250792"/>
              <a:ext cx="910003" cy="1653305"/>
              <a:chOff x="3660796" y="4250792"/>
              <a:chExt cx="910003" cy="1653305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BAA70857-ABB5-4C87-BBFB-D579FE7636B0}"/>
                  </a:ext>
                </a:extLst>
              </p:cNvPr>
              <p:cNvSpPr/>
              <p:nvPr/>
            </p:nvSpPr>
            <p:spPr bwMode="auto">
              <a:xfrm>
                <a:off x="3660796" y="4250792"/>
                <a:ext cx="908389" cy="158869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ork Package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6BB14AE3-CD5A-4EC8-9639-F4D702DB759C}"/>
                  </a:ext>
                </a:extLst>
              </p:cNvPr>
              <p:cNvSpPr/>
              <p:nvPr/>
            </p:nvSpPr>
            <p:spPr bwMode="auto">
              <a:xfrm>
                <a:off x="3871129" y="5327941"/>
                <a:ext cx="698059" cy="158869"/>
              </a:xfrm>
              <a:prstGeom prst="rect">
                <a:avLst/>
              </a:prstGeom>
              <a:solidFill>
                <a:srgbClr val="FBECAC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opic 2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C19FC712-DC0E-409F-94E2-EB20CC392B93}"/>
                  </a:ext>
                </a:extLst>
              </p:cNvPr>
              <p:cNvSpPr/>
              <p:nvPr/>
            </p:nvSpPr>
            <p:spPr bwMode="auto">
              <a:xfrm>
                <a:off x="4158434" y="5555052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991C5EDD-306B-499C-BCEE-4752CB6EC30F}"/>
                  </a:ext>
                </a:extLst>
              </p:cNvPr>
              <p:cNvSpPr/>
              <p:nvPr/>
            </p:nvSpPr>
            <p:spPr bwMode="auto">
              <a:xfrm>
                <a:off x="4160048" y="5745228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60B9F108-71FE-4FC2-BE3E-75CBA8FC056D}"/>
                  </a:ext>
                </a:extLst>
              </p:cNvPr>
              <p:cNvSpPr/>
              <p:nvPr/>
            </p:nvSpPr>
            <p:spPr bwMode="auto">
              <a:xfrm>
                <a:off x="3660796" y="5103946"/>
                <a:ext cx="908389" cy="158869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ork Package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4818450D-F11B-42E0-A2B1-C8F16BE029A6}"/>
                  </a:ext>
                </a:extLst>
              </p:cNvPr>
              <p:cNvSpPr/>
              <p:nvPr/>
            </p:nvSpPr>
            <p:spPr bwMode="auto">
              <a:xfrm>
                <a:off x="3871129" y="4486768"/>
                <a:ext cx="698059" cy="158869"/>
              </a:xfrm>
              <a:prstGeom prst="rect">
                <a:avLst/>
              </a:prstGeom>
              <a:solidFill>
                <a:srgbClr val="FBECAC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opic 1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CC874201-C4C3-46BE-A14A-7A0831CDBC29}"/>
                  </a:ext>
                </a:extLst>
              </p:cNvPr>
              <p:cNvSpPr/>
              <p:nvPr/>
            </p:nvSpPr>
            <p:spPr bwMode="auto">
              <a:xfrm>
                <a:off x="4158434" y="4684188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BD9FEB8-2AED-4C62-85D5-EA6F0B0DAAE9}"/>
                  </a:ext>
                </a:extLst>
              </p:cNvPr>
              <p:cNvSpPr/>
              <p:nvPr/>
            </p:nvSpPr>
            <p:spPr bwMode="auto">
              <a:xfrm>
                <a:off x="4158434" y="4881612"/>
                <a:ext cx="410751" cy="158869"/>
              </a:xfrm>
              <a:prstGeom prst="rect">
                <a:avLst/>
              </a:prstGeom>
              <a:solidFill>
                <a:srgbClr val="91E2CB"/>
              </a:solidFill>
              <a:ln>
                <a:noFill/>
              </a:ln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567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</a:p>
            </p:txBody>
          </p:sp>
        </p:grpSp>
      </p:grpSp>
      <p:sp>
        <p:nvSpPr>
          <p:cNvPr id="108" name="Rectangle 107"/>
          <p:cNvSpPr/>
          <p:nvPr/>
        </p:nvSpPr>
        <p:spPr>
          <a:xfrm>
            <a:off x="833808" y="125409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601135" y="125409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368462" y="125409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9228979" y="1254095"/>
            <a:ext cx="1517715" cy="204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5399961-AC3D-48E9-9878-6A760CC423DE}"/>
              </a:ext>
            </a:extLst>
          </p:cNvPr>
          <p:cNvSpPr/>
          <p:nvPr/>
        </p:nvSpPr>
        <p:spPr bwMode="auto">
          <a:xfrm>
            <a:off x="833398" y="4250229"/>
            <a:ext cx="2090222" cy="1594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 Bilateral Meeting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5399961-AC3D-48E9-9878-6A760CC423DE}"/>
              </a:ext>
            </a:extLst>
          </p:cNvPr>
          <p:cNvSpPr/>
          <p:nvPr/>
        </p:nvSpPr>
        <p:spPr bwMode="auto">
          <a:xfrm>
            <a:off x="832988" y="4479698"/>
            <a:ext cx="2090222" cy="1647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 Member States</a:t>
            </a:r>
          </a:p>
        </p:txBody>
      </p:sp>
    </p:spTree>
    <p:extLst>
      <p:ext uri="{BB962C8B-B14F-4D97-AF65-F5344CB8AC3E}">
        <p14:creationId xmlns:p14="http://schemas.microsoft.com/office/powerpoint/2010/main" val="3512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119188" y="3607143"/>
            <a:ext cx="8525974" cy="602194"/>
          </a:xfrm>
        </p:spPr>
        <p:txBody>
          <a:bodyPr/>
          <a:lstStyle/>
          <a:p>
            <a:r>
              <a:rPr lang="en-US" sz="3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Proposed Organisation of Work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140968" y="4242490"/>
            <a:ext cx="6059932" cy="235449"/>
          </a:xfrm>
        </p:spPr>
        <p:txBody>
          <a:bodyPr/>
          <a:lstStyle/>
          <a:p>
            <a:r>
              <a:rPr lang="en-GB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, structure, sequence</a:t>
            </a:r>
            <a:endParaRPr lang="en-GB" sz="2000" b="1" dirty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1140968" y="5061572"/>
            <a:ext cx="7835978" cy="7501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tion: 30 min</a:t>
            </a:r>
          </a:p>
          <a:p>
            <a:r>
              <a:rPr lang="nl-B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er: </a:t>
            </a:r>
            <a:r>
              <a:rPr lang="en-US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ur BREUILLIN (DG GROW)</a:t>
            </a: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317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9xna6R09HDqdMVDQHv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JFsoudZtzbSb_2AxFq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Vp93VqRfafCS5vqxLO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9xna6R09HDqdMVDQHv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JFsoudZtzbSb_2AxFq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lw1dEG7ATLWvFF.sp9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AekZa91hVPDpqhJvb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AekZa91hVPDpqhJvb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JFsoudZtzbSb_2AxFq_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AekZa91hVPDpqhJvb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AekZa91hVPDpqhJvb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_F9Vlala5ljUR.Ag6U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lw1dEG7ATLWvFF.sp93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08lSWESqRSPiQ2o_32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JFsoudZtzbSb_2AxFq_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9xna6R09HDqdMVDQHv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7277vuXGYTjzgtmOO7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2.xml><?xml version="1.0" encoding="utf-8"?>
<a:theme xmlns:a="http://schemas.openxmlformats.org/drawingml/2006/main" name="10_Slide_Master">
  <a:themeElements>
    <a:clrScheme name="EC_theme">
      <a:dk1>
        <a:srgbClr val="646567"/>
      </a:dk1>
      <a:lt1>
        <a:srgbClr val="FFFFFF"/>
      </a:lt1>
      <a:dk2>
        <a:srgbClr val="000000"/>
      </a:dk2>
      <a:lt2>
        <a:srgbClr val="C5C6C8"/>
      </a:lt2>
      <a:accent1>
        <a:srgbClr val="004494"/>
      </a:accent1>
      <a:accent2>
        <a:srgbClr val="033860"/>
      </a:accent2>
      <a:accent3>
        <a:srgbClr val="FEF200"/>
      </a:accent3>
      <a:accent4>
        <a:srgbClr val="FFDB1A"/>
      </a:accent4>
      <a:accent5>
        <a:srgbClr val="43C2CB"/>
      </a:accent5>
      <a:accent6>
        <a:srgbClr val="DC383A"/>
      </a:accent6>
      <a:hlink>
        <a:srgbClr val="004494"/>
      </a:hlink>
      <a:folHlink>
        <a:srgbClr val="7030A0"/>
      </a:folHlink>
    </a:clrScheme>
    <a:fontScheme name="EC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>
          <a:noFill/>
        </a:ln>
      </a:spPr>
      <a:bodyPr anchor="t"/>
      <a:lstStyle>
        <a:defPPr algn="ctr">
          <a:defRPr sz="1100" b="0" dirty="0" smtClean="0">
            <a:solidFill>
              <a:srgbClr val="646567"/>
            </a:solidFill>
          </a:defRPr>
        </a:defPPr>
      </a:lstStyle>
    </a:spDef>
    <a:lnDef>
      <a:spPr bwMode="auto">
        <a:noFill/>
        <a:ln w="19050" cap="rnd" cmpd="sng" algn="ctr">
          <a:solidFill>
            <a:schemeClr val="bg1">
              <a:lumMod val="75000"/>
            </a:schemeClr>
          </a:solidFill>
          <a:prstDash val="sysDot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600" b="0" smtClean="0">
            <a:solidFill>
              <a:srgbClr val="646567"/>
            </a:solidFill>
          </a:defRPr>
        </a:defPPr>
      </a:lstStyle>
    </a:tx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9EAA5BC7-C8D1-884D-97C2-1198B3D680D0}" vid="{5E7D5241-75D5-854F-A9B2-51E31C80B9FB}"/>
    </a:ext>
  </a:extLst>
</a:theme>
</file>

<file path=ppt/theme/theme3.xml><?xml version="1.0" encoding="utf-8"?>
<a:theme xmlns:a="http://schemas.openxmlformats.org/drawingml/2006/main" name="1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2B2D162C7E6545908EA6BE45179801" ma:contentTypeVersion="13" ma:contentTypeDescription="Create a new document." ma:contentTypeScope="" ma:versionID="787d490c3f7bcbc49331de2afe4b7b73">
  <xsd:schema xmlns:xsd="http://www.w3.org/2001/XMLSchema" xmlns:xs="http://www.w3.org/2001/XMLSchema" xmlns:p="http://schemas.microsoft.com/office/2006/metadata/properties" xmlns:ns3="4d7ae636-07a9-4e0c-8933-60496c952c2d" xmlns:ns4="eca17cce-3204-41be-b771-b7ca4ac44ef3" targetNamespace="http://schemas.microsoft.com/office/2006/metadata/properties" ma:root="true" ma:fieldsID="8fd3ebcf2ad851fca4de565f8b7e41eb" ns3:_="" ns4:_="">
    <xsd:import namespace="4d7ae636-07a9-4e0c-8933-60496c952c2d"/>
    <xsd:import namespace="eca17cce-3204-41be-b771-b7ca4ac44e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7ae636-07a9-4e0c-8933-60496c952c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a17cce-3204-41be-b771-b7ca4ac44ef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5120E5-09CE-4FE0-913D-527DF3184F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7ae636-07a9-4e0c-8933-60496c952c2d"/>
    <ds:schemaRef ds:uri="eca17cce-3204-41be-b771-b7ca4ac44e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E82F40-3AE7-49F3-BA18-4D7851CA0B72}">
  <ds:schemaRefs>
    <ds:schemaRef ds:uri="http://purl.org/dc/terms/"/>
    <ds:schemaRef ds:uri="4d7ae636-07a9-4e0c-8933-60496c952c2d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eca17cce-3204-41be-b771-b7ca4ac44ef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EB4D5F2-80C3-4F21-9D3C-84670DB02A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(20200224)(CEF slide template)(v1.0)</Template>
  <TotalTime>4928</TotalTime>
  <Words>2505</Words>
  <Application>Microsoft Office PowerPoint</Application>
  <PresentationFormat>Widescreen</PresentationFormat>
  <Paragraphs>1010</Paragraphs>
  <Slides>3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51" baseType="lpstr">
      <vt:lpstr>ＭＳ Ｐゴシック</vt:lpstr>
      <vt:lpstr>Arial</vt:lpstr>
      <vt:lpstr>Calibri</vt:lpstr>
      <vt:lpstr>Courier New</vt:lpstr>
      <vt:lpstr>EC Square Sans Pro</vt:lpstr>
      <vt:lpstr>Frutiger Next Pro Light</vt:lpstr>
      <vt:lpstr>Futura LT Book</vt:lpstr>
      <vt:lpstr>Helvetica Neue</vt:lpstr>
      <vt:lpstr>Nexa Black</vt:lpstr>
      <vt:lpstr>Times</vt:lpstr>
      <vt:lpstr>Verdana</vt:lpstr>
      <vt:lpstr>Wingdings</vt:lpstr>
      <vt:lpstr>Wingdings 2</vt:lpstr>
      <vt:lpstr>CEF Master Template</vt:lpstr>
      <vt:lpstr>10_Slide_Master</vt:lpstr>
      <vt:lpstr>1_CEF Master Template</vt:lpstr>
      <vt:lpstr>think-cell Slide</vt:lpstr>
      <vt:lpstr>PowerPoint Presentation</vt:lpstr>
      <vt:lpstr>Ground rules for the live webinar</vt:lpstr>
      <vt:lpstr>Webinar flow</vt:lpstr>
      <vt:lpstr>Agenda </vt:lpstr>
      <vt:lpstr>PowerPoint Presentation</vt:lpstr>
      <vt:lpstr>Introduction</vt:lpstr>
      <vt:lpstr>Join in</vt:lpstr>
      <vt:lpstr>Roadmap, 4-step approach</vt:lpstr>
      <vt:lpstr>PowerPoint Presentation</vt:lpstr>
      <vt:lpstr>Proposed organisation of work</vt:lpstr>
      <vt:lpstr>Join in</vt:lpstr>
      <vt:lpstr>Organisation of work in 2020-21</vt:lpstr>
      <vt:lpstr>Planning: the first wave of Work Packages </vt:lpstr>
      <vt:lpstr>Planning: The second wave of Work Packages</vt:lpstr>
      <vt:lpstr>The composition of Work Packages</vt:lpstr>
      <vt:lpstr>High-level timeline of Phase 1</vt:lpstr>
      <vt:lpstr>PowerPoint Presentation</vt:lpstr>
      <vt:lpstr>User Centricity Work Package</vt:lpstr>
      <vt:lpstr>Topic: User Journey Mapping</vt:lpstr>
      <vt:lpstr>Functionality Work Package</vt:lpstr>
      <vt:lpstr>Topic: User Identification, Authentication and Record Matching</vt:lpstr>
      <vt:lpstr>Topic: Evidence Exchange</vt:lpstr>
      <vt:lpstr>Technical Design Work Package</vt:lpstr>
      <vt:lpstr>Topic: Technical System Architecture</vt:lpstr>
      <vt:lpstr>Topic: Central Systems</vt:lpstr>
      <vt:lpstr>Topic: Links to Other EU Systems</vt:lpstr>
      <vt:lpstr>Data Semantics, Formats and Quality Work Package</vt:lpstr>
      <vt:lpstr>Topic: Methodology</vt:lpstr>
      <vt:lpstr>Kick-off meetings of Work Packages in Phase 1</vt:lpstr>
      <vt:lpstr>PowerPoint Presentation</vt:lpstr>
      <vt:lpstr>FAQ Update</vt:lpstr>
      <vt:lpstr>PowerPoint Presentation</vt:lpstr>
      <vt:lpstr>Guidelines for collaboration</vt:lpstr>
      <vt:lpstr>PowerPoint Presentation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DRIGUES FRADE Joao (DIGIT)</dc:creator>
  <cp:lastModifiedBy>BREUILLIN Fleur (GROW)</cp:lastModifiedBy>
  <cp:revision>275</cp:revision>
  <dcterms:created xsi:type="dcterms:W3CDTF">2020-02-24T13:55:27Z</dcterms:created>
  <dcterms:modified xsi:type="dcterms:W3CDTF">2020-04-06T09:3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2B2D162C7E6545908EA6BE45179801</vt:lpwstr>
  </property>
</Properties>
</file>